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1.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tags/tag24.xml" ContentType="application/vnd.openxmlformats-officedocument.presentationml.tags+xml"/>
  <Override PartName="/ppt/notesSlides/notesSlide6.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notesSlides/notesSlide7.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notesSlides/notesSlide8.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notesSlides/notesSlide9.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notesSlides/notesSlide12.xml" ContentType="application/vnd.openxmlformats-officedocument.presentationml.notesSlide+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notesSlides/notesSlide13.xml" ContentType="application/vnd.openxmlformats-officedocument.presentationml.notesSlide+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notesSlides/notesSlide14.xml" ContentType="application/vnd.openxmlformats-officedocument.presentationml.notesSlide+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80.xml" ContentType="application/vnd.openxmlformats-officedocument.presentationml.tags+xml"/>
  <Override PartName="/ppt/notesSlides/notesSlide21.xml" ContentType="application/vnd.openxmlformats-officedocument.presentationml.notesSlide+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notesSlides/notesSlide24.xml" ContentType="application/vnd.openxmlformats-officedocument.presentationml.notesSlide+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notesSlides/notesSlide2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31"/>
  </p:notesMasterIdLst>
  <p:handoutMasterIdLst>
    <p:handoutMasterId r:id="rId32"/>
  </p:handoutMasterIdLst>
  <p:sldIdLst>
    <p:sldId id="573" r:id="rId5"/>
    <p:sldId id="2147482821" r:id="rId6"/>
    <p:sldId id="574" r:id="rId7"/>
    <p:sldId id="2147482793" r:id="rId8"/>
    <p:sldId id="2147482830" r:id="rId9"/>
    <p:sldId id="2147482826" r:id="rId10"/>
    <p:sldId id="2147482819" r:id="rId11"/>
    <p:sldId id="2147482794" r:id="rId12"/>
    <p:sldId id="2147482795" r:id="rId13"/>
    <p:sldId id="2147482798" r:id="rId14"/>
    <p:sldId id="2147482802" r:id="rId15"/>
    <p:sldId id="2147482836" r:id="rId16"/>
    <p:sldId id="2147482834" r:id="rId17"/>
    <p:sldId id="2147482835" r:id="rId18"/>
    <p:sldId id="2147473439" r:id="rId19"/>
    <p:sldId id="2147473440" r:id="rId20"/>
    <p:sldId id="2147482837" r:id="rId21"/>
    <p:sldId id="2147482799" r:id="rId22"/>
    <p:sldId id="2147482800" r:id="rId23"/>
    <p:sldId id="2147482801" r:id="rId24"/>
    <p:sldId id="2147482833" r:id="rId25"/>
    <p:sldId id="2134808552" r:id="rId26"/>
    <p:sldId id="2134808589" r:id="rId27"/>
    <p:sldId id="2134808588" r:id="rId28"/>
    <p:sldId id="2147482831" r:id="rId29"/>
    <p:sldId id="587" r:id="rId30"/>
  </p:sldIdLst>
  <p:sldSz cx="11520488" cy="6480175"/>
  <p:notesSz cx="6858000" cy="9144000"/>
  <p:custDataLst>
    <p:tags r:id="rId33"/>
  </p:custDataLst>
  <p:defaultTextStyle>
    <a:defPPr>
      <a:defRPr lang="de-DE"/>
    </a:defPPr>
    <a:lvl1pPr marL="0" algn="l" defTabSz="863995" rtl="0" eaLnBrk="1" latinLnBrk="0" hangingPunct="1">
      <a:defRPr sz="1701" kern="1200">
        <a:solidFill>
          <a:schemeClr val="tx1"/>
        </a:solidFill>
        <a:latin typeface="+mn-lt"/>
        <a:ea typeface="+mn-ea"/>
        <a:cs typeface="+mn-cs"/>
      </a:defRPr>
    </a:lvl1pPr>
    <a:lvl2pPr marL="431998" algn="l" defTabSz="863995" rtl="0" eaLnBrk="1" latinLnBrk="0" hangingPunct="1">
      <a:defRPr sz="1701" kern="1200">
        <a:solidFill>
          <a:schemeClr val="tx1"/>
        </a:solidFill>
        <a:latin typeface="+mn-lt"/>
        <a:ea typeface="+mn-ea"/>
        <a:cs typeface="+mn-cs"/>
      </a:defRPr>
    </a:lvl2pPr>
    <a:lvl3pPr marL="863995" algn="l" defTabSz="863995" rtl="0" eaLnBrk="1" latinLnBrk="0" hangingPunct="1">
      <a:defRPr sz="1701" kern="1200">
        <a:solidFill>
          <a:schemeClr val="tx1"/>
        </a:solidFill>
        <a:latin typeface="+mn-lt"/>
        <a:ea typeface="+mn-ea"/>
        <a:cs typeface="+mn-cs"/>
      </a:defRPr>
    </a:lvl3pPr>
    <a:lvl4pPr marL="1295993" algn="l" defTabSz="863995" rtl="0" eaLnBrk="1" latinLnBrk="0" hangingPunct="1">
      <a:defRPr sz="1701" kern="1200">
        <a:solidFill>
          <a:schemeClr val="tx1"/>
        </a:solidFill>
        <a:latin typeface="+mn-lt"/>
        <a:ea typeface="+mn-ea"/>
        <a:cs typeface="+mn-cs"/>
      </a:defRPr>
    </a:lvl4pPr>
    <a:lvl5pPr marL="1727990" algn="l" defTabSz="863995" rtl="0" eaLnBrk="1" latinLnBrk="0" hangingPunct="1">
      <a:defRPr sz="1701" kern="1200">
        <a:solidFill>
          <a:schemeClr val="tx1"/>
        </a:solidFill>
        <a:latin typeface="+mn-lt"/>
        <a:ea typeface="+mn-ea"/>
        <a:cs typeface="+mn-cs"/>
      </a:defRPr>
    </a:lvl5pPr>
    <a:lvl6pPr marL="2159988" algn="l" defTabSz="863995" rtl="0" eaLnBrk="1" latinLnBrk="0" hangingPunct="1">
      <a:defRPr sz="1701" kern="1200">
        <a:solidFill>
          <a:schemeClr val="tx1"/>
        </a:solidFill>
        <a:latin typeface="+mn-lt"/>
        <a:ea typeface="+mn-ea"/>
        <a:cs typeface="+mn-cs"/>
      </a:defRPr>
    </a:lvl6pPr>
    <a:lvl7pPr marL="2591984" algn="l" defTabSz="863995" rtl="0" eaLnBrk="1" latinLnBrk="0" hangingPunct="1">
      <a:defRPr sz="1701" kern="1200">
        <a:solidFill>
          <a:schemeClr val="tx1"/>
        </a:solidFill>
        <a:latin typeface="+mn-lt"/>
        <a:ea typeface="+mn-ea"/>
        <a:cs typeface="+mn-cs"/>
      </a:defRPr>
    </a:lvl7pPr>
    <a:lvl8pPr marL="3023982" algn="l" defTabSz="863995" rtl="0" eaLnBrk="1" latinLnBrk="0" hangingPunct="1">
      <a:defRPr sz="1701" kern="1200">
        <a:solidFill>
          <a:schemeClr val="tx1"/>
        </a:solidFill>
        <a:latin typeface="+mn-lt"/>
        <a:ea typeface="+mn-ea"/>
        <a:cs typeface="+mn-cs"/>
      </a:defRPr>
    </a:lvl8pPr>
    <a:lvl9pPr marL="3455980" algn="l" defTabSz="863995" rtl="0" eaLnBrk="1" latinLnBrk="0" hangingPunct="1">
      <a:defRPr sz="1701"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3874D9EB-0D06-4F62-A5AE-FF1B164A9049}">
          <p14:sldIdLst>
            <p14:sldId id="573"/>
          </p14:sldIdLst>
        </p14:section>
        <p14:section name="company" id="{2A4511D6-FB66-4048-A67E-47ABB92F87E0}">
          <p14:sldIdLst>
            <p14:sldId id="2147482821"/>
          </p14:sldIdLst>
        </p14:section>
        <p14:section name="intro" id="{098D3951-9238-472B-AAA4-81FCD4966D60}">
          <p14:sldIdLst>
            <p14:sldId id="574"/>
          </p14:sldIdLst>
        </p14:section>
        <p14:section name="point1" id="{8EE6ACD1-F629-4209-AE24-BECABE4053A0}">
          <p14:sldIdLst>
            <p14:sldId id="2147482793"/>
            <p14:sldId id="2147482830"/>
            <p14:sldId id="2147482826"/>
            <p14:sldId id="2147482819"/>
            <p14:sldId id="2147482794"/>
            <p14:sldId id="2147482795"/>
            <p14:sldId id="2147482798"/>
            <p14:sldId id="2147482802"/>
          </p14:sldIdLst>
        </p14:section>
        <p14:section name="point2" id="{3E76A32A-34FB-4BE4-A2E9-8CC4947D46AB}">
          <p14:sldIdLst>
            <p14:sldId id="2147482836"/>
            <p14:sldId id="2147482834"/>
            <p14:sldId id="2147482835"/>
            <p14:sldId id="2147473439"/>
            <p14:sldId id="2147473440"/>
          </p14:sldIdLst>
        </p14:section>
        <p14:section name="point3" id="{520B5BB5-7DEB-48E7-A590-63F76830CC29}">
          <p14:sldIdLst>
            <p14:sldId id="2147482837"/>
            <p14:sldId id="2147482799"/>
            <p14:sldId id="2147482800"/>
            <p14:sldId id="2147482801"/>
            <p14:sldId id="2147482833"/>
            <p14:sldId id="2134808552"/>
            <p14:sldId id="2134808589"/>
            <p14:sldId id="2134808588"/>
            <p14:sldId id="2147482831"/>
          </p14:sldIdLst>
        </p14:section>
        <p14:section name="contact" id="{73486F86-47A4-412A-91CA-0027FBAB522A}">
          <p14:sldIdLst>
            <p14:sldId id="587"/>
          </p14:sldIdLst>
        </p14:section>
      </p14:sectionLst>
    </p:ext>
    <p:ext uri="{EFAFB233-063F-42B5-8137-9DF3F51BA10A}">
      <p15:sldGuideLst xmlns:p15="http://schemas.microsoft.com/office/powerpoint/2012/main">
        <p15:guide id="1" orient="horz" pos="2177" userDrawn="1">
          <p15:clr>
            <a:srgbClr val="A4A3A4"/>
          </p15:clr>
        </p15:guide>
        <p15:guide id="2" pos="362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78CBB39-8457-4695-86E0-BC42CBE1CD5A}" v="48" dt="2025-05-14T18:24:46.871"/>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F5AB1C69-6EDB-4FF4-983F-18BD219EF322}" styleName="Mittlere Formatvorlage 2 - Akz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584" autoAdjust="0"/>
    <p:restoredTop sz="84018" autoAdjust="0"/>
  </p:normalViewPr>
  <p:slideViewPr>
    <p:cSldViewPr>
      <p:cViewPr varScale="1">
        <p:scale>
          <a:sx n="52" d="100"/>
          <a:sy n="52" d="100"/>
        </p:scale>
        <p:origin x="1392" y="56"/>
      </p:cViewPr>
      <p:guideLst>
        <p:guide orient="horz" pos="2177"/>
        <p:guide pos="3629"/>
      </p:guideLst>
    </p:cSldViewPr>
  </p:slideViewPr>
  <p:outlineViewPr>
    <p:cViewPr>
      <p:scale>
        <a:sx n="33" d="100"/>
        <a:sy n="33" d="100"/>
      </p:scale>
      <p:origin x="0" y="0"/>
    </p:cViewPr>
  </p:outlineViewPr>
  <p:notesTextViewPr>
    <p:cViewPr>
      <p:scale>
        <a:sx n="66" d="100"/>
        <a:sy n="66" d="100"/>
      </p:scale>
      <p:origin x="0" y="0"/>
    </p:cViewPr>
  </p:notesTextViewPr>
  <p:sorterViewPr>
    <p:cViewPr>
      <p:scale>
        <a:sx n="100" d="100"/>
        <a:sy n="100" d="100"/>
      </p:scale>
      <p:origin x="0" y="0"/>
    </p:cViewPr>
  </p:sorterViewPr>
  <p:notesViewPr>
    <p:cSldViewPr>
      <p:cViewPr varScale="1">
        <p:scale>
          <a:sx n="117" d="100"/>
          <a:sy n="117" d="100"/>
        </p:scale>
        <p:origin x="6512" y="176"/>
      </p:cViewPr>
      <p:guideLst/>
    </p:cSldViewPr>
  </p:notesViewPr>
  <p:gridSpacing cx="36004" cy="36004"/>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microsoft.com/office/2015/10/relationships/revisionInfo" Target="revisionInfo.xml"/><Relationship Id="rId21" Type="http://schemas.openxmlformats.org/officeDocument/2006/relationships/slide" Target="slides/slide17.xml"/><Relationship Id="rId34"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gs" Target="tags/tag1.xml"/><Relationship Id="rId38"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handoutMaster" Target="handoutMasters/handoutMaster1.xml"/><Relationship Id="rId37"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viewProps" Target="viewProps.xml"/><Relationship Id="rId8" Type="http://schemas.openxmlformats.org/officeDocument/2006/relationships/slide" Target="slides/slide4.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Oka, Dr. Dennis Kengo (JP)" userId="aeb014c5-2f18-4035-80ba-4d519a44d38a" providerId="ADAL" clId="{A78CBB39-8457-4695-86E0-BC42CBE1CD5A}"/>
    <pc:docChg chg="undo custSel delSld modSld modSection">
      <pc:chgData name="Oka, Dr. Dennis Kengo (JP)" userId="aeb014c5-2f18-4035-80ba-4d519a44d38a" providerId="ADAL" clId="{A78CBB39-8457-4695-86E0-BC42CBE1CD5A}" dt="2025-05-14T18:34:14.253" v="4322" actId="20577"/>
      <pc:docMkLst>
        <pc:docMk/>
      </pc:docMkLst>
      <pc:sldChg chg="modSp mod">
        <pc:chgData name="Oka, Dr. Dennis Kengo (JP)" userId="aeb014c5-2f18-4035-80ba-4d519a44d38a" providerId="ADAL" clId="{A78CBB39-8457-4695-86E0-BC42CBE1CD5A}" dt="2025-05-14T18:21:05.447" v="4280" actId="20577"/>
        <pc:sldMkLst>
          <pc:docMk/>
          <pc:sldMk cId="639914504" sldId="573"/>
        </pc:sldMkLst>
        <pc:spChg chg="mod">
          <ac:chgData name="Oka, Dr. Dennis Kengo (JP)" userId="aeb014c5-2f18-4035-80ba-4d519a44d38a" providerId="ADAL" clId="{A78CBB39-8457-4695-86E0-BC42CBE1CD5A}" dt="2025-05-14T17:27:50.798" v="3149" actId="20577"/>
          <ac:spMkLst>
            <pc:docMk/>
            <pc:sldMk cId="639914504" sldId="573"/>
            <ac:spMk id="48" creationId="{9DF01F17-F9D2-470C-98BE-243CD5ED053D}"/>
          </ac:spMkLst>
        </pc:spChg>
        <pc:spChg chg="mod">
          <ac:chgData name="Oka, Dr. Dennis Kengo (JP)" userId="aeb014c5-2f18-4035-80ba-4d519a44d38a" providerId="ADAL" clId="{A78CBB39-8457-4695-86E0-BC42CBE1CD5A}" dt="2025-05-14T18:21:05.447" v="4280" actId="20577"/>
          <ac:spMkLst>
            <pc:docMk/>
            <pc:sldMk cId="639914504" sldId="573"/>
            <ac:spMk id="49" creationId="{F2D4C992-6263-44EE-BBDD-FD2201250A58}"/>
          </ac:spMkLst>
        </pc:spChg>
      </pc:sldChg>
      <pc:sldChg chg="modNotesTx">
        <pc:chgData name="Oka, Dr. Dennis Kengo (JP)" userId="aeb014c5-2f18-4035-80ba-4d519a44d38a" providerId="ADAL" clId="{A78CBB39-8457-4695-86E0-BC42CBE1CD5A}" dt="2025-05-14T17:08:06.501" v="2273" actId="20577"/>
        <pc:sldMkLst>
          <pc:docMk/>
          <pc:sldMk cId="1399101948" sldId="587"/>
        </pc:sldMkLst>
      </pc:sldChg>
      <pc:sldChg chg="addSp delSp modSp mod modNotesTx">
        <pc:chgData name="Oka, Dr. Dennis Kengo (JP)" userId="aeb014c5-2f18-4035-80ba-4d519a44d38a" providerId="ADAL" clId="{A78CBB39-8457-4695-86E0-BC42CBE1CD5A}" dt="2025-05-14T18:34:14.253" v="4322" actId="20577"/>
        <pc:sldMkLst>
          <pc:docMk/>
          <pc:sldMk cId="2115831695" sldId="2134808552"/>
        </pc:sldMkLst>
        <pc:spChg chg="add mod">
          <ac:chgData name="Oka, Dr. Dennis Kengo (JP)" userId="aeb014c5-2f18-4035-80ba-4d519a44d38a" providerId="ADAL" clId="{A78CBB39-8457-4695-86E0-BC42CBE1CD5A}" dt="2025-05-14T17:27:09.956" v="3142"/>
          <ac:spMkLst>
            <pc:docMk/>
            <pc:sldMk cId="2115831695" sldId="2134808552"/>
            <ac:spMk id="3" creationId="{4DEC2560-A938-5285-9794-021232137BBB}"/>
          </ac:spMkLst>
        </pc:spChg>
        <pc:spChg chg="del">
          <ac:chgData name="Oka, Dr. Dennis Kengo (JP)" userId="aeb014c5-2f18-4035-80ba-4d519a44d38a" providerId="ADAL" clId="{A78CBB39-8457-4695-86E0-BC42CBE1CD5A}" dt="2025-05-14T17:27:09.634" v="3141" actId="478"/>
          <ac:spMkLst>
            <pc:docMk/>
            <pc:sldMk cId="2115831695" sldId="2134808552"/>
            <ac:spMk id="8" creationId="{81C951B6-F8C0-6557-E9D1-2EF7BE7CC93A}"/>
          </ac:spMkLst>
        </pc:spChg>
      </pc:sldChg>
      <pc:sldChg chg="mod modShow modNotesTx">
        <pc:chgData name="Oka, Dr. Dennis Kengo (JP)" userId="aeb014c5-2f18-4035-80ba-4d519a44d38a" providerId="ADAL" clId="{A78CBB39-8457-4695-86E0-BC42CBE1CD5A}" dt="2025-05-14T17:07:56.291" v="2264" actId="20577"/>
        <pc:sldMkLst>
          <pc:docMk/>
          <pc:sldMk cId="662665077" sldId="2134808588"/>
        </pc:sldMkLst>
      </pc:sldChg>
      <pc:sldChg chg="mod modShow modNotesTx">
        <pc:chgData name="Oka, Dr. Dennis Kengo (JP)" userId="aeb014c5-2f18-4035-80ba-4d519a44d38a" providerId="ADAL" clId="{A78CBB39-8457-4695-86E0-BC42CBE1CD5A}" dt="2025-05-14T17:07:52.805" v="2262" actId="20577"/>
        <pc:sldMkLst>
          <pc:docMk/>
          <pc:sldMk cId="761531386" sldId="2134808589"/>
        </pc:sldMkLst>
      </pc:sldChg>
      <pc:sldChg chg="addSp delSp modSp mod modNotesTx">
        <pc:chgData name="Oka, Dr. Dennis Kengo (JP)" userId="aeb014c5-2f18-4035-80ba-4d519a44d38a" providerId="ADAL" clId="{A78CBB39-8457-4695-86E0-BC42CBE1CD5A}" dt="2025-05-14T18:31:11.589" v="4317" actId="20577"/>
        <pc:sldMkLst>
          <pc:docMk/>
          <pc:sldMk cId="889632766" sldId="2147473439"/>
        </pc:sldMkLst>
        <pc:spChg chg="add mod">
          <ac:chgData name="Oka, Dr. Dennis Kengo (JP)" userId="aeb014c5-2f18-4035-80ba-4d519a44d38a" providerId="ADAL" clId="{A78CBB39-8457-4695-86E0-BC42CBE1CD5A}" dt="2025-05-14T17:31:54.602" v="3170" actId="207"/>
          <ac:spMkLst>
            <pc:docMk/>
            <pc:sldMk cId="889632766" sldId="2147473439"/>
            <ac:spMk id="3" creationId="{8F00F849-8DB8-8B3A-AE7C-3F57899764C2}"/>
          </ac:spMkLst>
        </pc:spChg>
        <pc:spChg chg="mod">
          <ac:chgData name="Oka, Dr. Dennis Kengo (JP)" userId="aeb014c5-2f18-4035-80ba-4d519a44d38a" providerId="ADAL" clId="{A78CBB39-8457-4695-86E0-BC42CBE1CD5A}" dt="2025-05-14T16:08:17.793" v="792" actId="20577"/>
          <ac:spMkLst>
            <pc:docMk/>
            <pc:sldMk cId="889632766" sldId="2147473439"/>
            <ac:spMk id="4" creationId="{80750A73-FDEC-4A78-A501-53D5BE0CA08C}"/>
          </ac:spMkLst>
        </pc:spChg>
        <pc:spChg chg="add mod">
          <ac:chgData name="Oka, Dr. Dennis Kengo (JP)" userId="aeb014c5-2f18-4035-80ba-4d519a44d38a" providerId="ADAL" clId="{A78CBB39-8457-4695-86E0-BC42CBE1CD5A}" dt="2025-05-14T17:26:39.562" v="3133"/>
          <ac:spMkLst>
            <pc:docMk/>
            <pc:sldMk cId="889632766" sldId="2147473439"/>
            <ac:spMk id="6" creationId="{ADFC6E4E-2192-DD79-6F15-F9955098A95C}"/>
          </ac:spMkLst>
        </pc:spChg>
        <pc:spChg chg="del">
          <ac:chgData name="Oka, Dr. Dennis Kengo (JP)" userId="aeb014c5-2f18-4035-80ba-4d519a44d38a" providerId="ADAL" clId="{A78CBB39-8457-4695-86E0-BC42CBE1CD5A}" dt="2025-05-14T17:26:39.233" v="3132" actId="478"/>
          <ac:spMkLst>
            <pc:docMk/>
            <pc:sldMk cId="889632766" sldId="2147473439"/>
            <ac:spMk id="8" creationId="{38228303-F311-A3C7-1522-4631E51054C5}"/>
          </ac:spMkLst>
        </pc:spChg>
        <pc:spChg chg="del">
          <ac:chgData name="Oka, Dr. Dennis Kengo (JP)" userId="aeb014c5-2f18-4035-80ba-4d519a44d38a" providerId="ADAL" clId="{A78CBB39-8457-4695-86E0-BC42CBE1CD5A}" dt="2025-05-14T16:06:59.123" v="768" actId="478"/>
          <ac:spMkLst>
            <pc:docMk/>
            <pc:sldMk cId="889632766" sldId="2147473439"/>
            <ac:spMk id="9" creationId="{A375536C-17C3-CD08-3ABC-03564F54B7A6}"/>
          </ac:spMkLst>
        </pc:spChg>
        <pc:spChg chg="mod">
          <ac:chgData name="Oka, Dr. Dennis Kengo (JP)" userId="aeb014c5-2f18-4035-80ba-4d519a44d38a" providerId="ADAL" clId="{A78CBB39-8457-4695-86E0-BC42CBE1CD5A}" dt="2025-05-14T16:07:24.391" v="770" actId="6549"/>
          <ac:spMkLst>
            <pc:docMk/>
            <pc:sldMk cId="889632766" sldId="2147473439"/>
            <ac:spMk id="19" creationId="{9B73BA18-59D9-4740-88B2-85D465E33C93}"/>
          </ac:spMkLst>
        </pc:spChg>
        <pc:graphicFrameChg chg="mod modGraphic">
          <ac:chgData name="Oka, Dr. Dennis Kengo (JP)" userId="aeb014c5-2f18-4035-80ba-4d519a44d38a" providerId="ADAL" clId="{A78CBB39-8457-4695-86E0-BC42CBE1CD5A}" dt="2025-05-14T17:42:11.002" v="3954" actId="20577"/>
          <ac:graphicFrameMkLst>
            <pc:docMk/>
            <pc:sldMk cId="889632766" sldId="2147473439"/>
            <ac:graphicFrameMk id="5" creationId="{8B15B404-76CF-9E7C-0C11-3497CAE4A9B1}"/>
          </ac:graphicFrameMkLst>
        </pc:graphicFrameChg>
      </pc:sldChg>
      <pc:sldChg chg="addSp delSp modSp mod modNotesTx">
        <pc:chgData name="Oka, Dr. Dennis Kengo (JP)" userId="aeb014c5-2f18-4035-80ba-4d519a44d38a" providerId="ADAL" clId="{A78CBB39-8457-4695-86E0-BC42CBE1CD5A}" dt="2025-05-14T18:31:41.560" v="4318" actId="6549"/>
        <pc:sldMkLst>
          <pc:docMk/>
          <pc:sldMk cId="2801804917" sldId="2147473440"/>
        </pc:sldMkLst>
        <pc:spChg chg="add mod">
          <ac:chgData name="Oka, Dr. Dennis Kengo (JP)" userId="aeb014c5-2f18-4035-80ba-4d519a44d38a" providerId="ADAL" clId="{A78CBB39-8457-4695-86E0-BC42CBE1CD5A}" dt="2025-05-14T17:32:35.720" v="3177" actId="207"/>
          <ac:spMkLst>
            <pc:docMk/>
            <pc:sldMk cId="2801804917" sldId="2147473440"/>
            <ac:spMk id="3" creationId="{7F3B4979-C2AE-D96D-40D5-519AF80B430A}"/>
          </ac:spMkLst>
        </pc:spChg>
        <pc:spChg chg="mod">
          <ac:chgData name="Oka, Dr. Dennis Kengo (JP)" userId="aeb014c5-2f18-4035-80ba-4d519a44d38a" providerId="ADAL" clId="{A78CBB39-8457-4695-86E0-BC42CBE1CD5A}" dt="2025-05-14T16:42:04.263" v="1906" actId="20577"/>
          <ac:spMkLst>
            <pc:docMk/>
            <pc:sldMk cId="2801804917" sldId="2147473440"/>
            <ac:spMk id="4" creationId="{80750A73-FDEC-4A78-A501-53D5BE0CA08C}"/>
          </ac:spMkLst>
        </pc:spChg>
        <pc:spChg chg="del">
          <ac:chgData name="Oka, Dr. Dennis Kengo (JP)" userId="aeb014c5-2f18-4035-80ba-4d519a44d38a" providerId="ADAL" clId="{A78CBB39-8457-4695-86E0-BC42CBE1CD5A}" dt="2025-05-14T16:06:52.556" v="766" actId="478"/>
          <ac:spMkLst>
            <pc:docMk/>
            <pc:sldMk cId="2801804917" sldId="2147473440"/>
            <ac:spMk id="5" creationId="{D8704B71-5699-C445-09FC-AEF6DA6C23BA}"/>
          </ac:spMkLst>
        </pc:spChg>
        <pc:spChg chg="add mod">
          <ac:chgData name="Oka, Dr. Dennis Kengo (JP)" userId="aeb014c5-2f18-4035-80ba-4d519a44d38a" providerId="ADAL" clId="{A78CBB39-8457-4695-86E0-BC42CBE1CD5A}" dt="2025-05-14T17:26:43.424" v="3135"/>
          <ac:spMkLst>
            <pc:docMk/>
            <pc:sldMk cId="2801804917" sldId="2147473440"/>
            <ac:spMk id="6" creationId="{217D1440-4FF8-C763-A206-948AED4B84B7}"/>
          </ac:spMkLst>
        </pc:spChg>
        <pc:spChg chg="del">
          <ac:chgData name="Oka, Dr. Dennis Kengo (JP)" userId="aeb014c5-2f18-4035-80ba-4d519a44d38a" providerId="ADAL" clId="{A78CBB39-8457-4695-86E0-BC42CBE1CD5A}" dt="2025-05-14T17:26:43.103" v="3134" actId="478"/>
          <ac:spMkLst>
            <pc:docMk/>
            <pc:sldMk cId="2801804917" sldId="2147473440"/>
            <ac:spMk id="8" creationId="{38228303-F311-A3C7-1522-4631E51054C5}"/>
          </ac:spMkLst>
        </pc:spChg>
        <pc:spChg chg="mod">
          <ac:chgData name="Oka, Dr. Dennis Kengo (JP)" userId="aeb014c5-2f18-4035-80ba-4d519a44d38a" providerId="ADAL" clId="{A78CBB39-8457-4695-86E0-BC42CBE1CD5A}" dt="2025-05-14T16:07:27.934" v="771" actId="6549"/>
          <ac:spMkLst>
            <pc:docMk/>
            <pc:sldMk cId="2801804917" sldId="2147473440"/>
            <ac:spMk id="19" creationId="{9B73BA18-59D9-4740-88B2-85D465E33C93}"/>
          </ac:spMkLst>
        </pc:spChg>
        <pc:graphicFrameChg chg="modGraphic">
          <ac:chgData name="Oka, Dr. Dennis Kengo (JP)" userId="aeb014c5-2f18-4035-80ba-4d519a44d38a" providerId="ADAL" clId="{A78CBB39-8457-4695-86E0-BC42CBE1CD5A}" dt="2025-05-14T18:23:42.869" v="4289" actId="207"/>
          <ac:graphicFrameMkLst>
            <pc:docMk/>
            <pc:sldMk cId="2801804917" sldId="2147473440"/>
            <ac:graphicFrameMk id="7" creationId="{2452CBA2-4AD5-BA85-D295-6C99A5BE4393}"/>
          </ac:graphicFrameMkLst>
        </pc:graphicFrameChg>
      </pc:sldChg>
      <pc:sldChg chg="del">
        <pc:chgData name="Oka, Dr. Dennis Kengo (JP)" userId="aeb014c5-2f18-4035-80ba-4d519a44d38a" providerId="ADAL" clId="{A78CBB39-8457-4695-86E0-BC42CBE1CD5A}" dt="2025-05-14T15:36:12.699" v="213" actId="47"/>
        <pc:sldMkLst>
          <pc:docMk/>
          <pc:sldMk cId="325503773" sldId="2147482781"/>
        </pc:sldMkLst>
      </pc:sldChg>
      <pc:sldChg chg="modSp">
        <pc:chgData name="Oka, Dr. Dennis Kengo (JP)" userId="aeb014c5-2f18-4035-80ba-4d519a44d38a" providerId="ADAL" clId="{A78CBB39-8457-4695-86E0-BC42CBE1CD5A}" dt="2025-05-14T18:21:34.793" v="4282" actId="20577"/>
        <pc:sldMkLst>
          <pc:docMk/>
          <pc:sldMk cId="1509253937" sldId="2147482793"/>
        </pc:sldMkLst>
        <pc:graphicFrameChg chg="mod">
          <ac:chgData name="Oka, Dr. Dennis Kengo (JP)" userId="aeb014c5-2f18-4035-80ba-4d519a44d38a" providerId="ADAL" clId="{A78CBB39-8457-4695-86E0-BC42CBE1CD5A}" dt="2025-05-14T18:21:34.793" v="4282" actId="20577"/>
          <ac:graphicFrameMkLst>
            <pc:docMk/>
            <pc:sldMk cId="1509253937" sldId="2147482793"/>
            <ac:graphicFrameMk id="5" creationId="{0223F6E1-9A19-1AD4-E23A-F4AD49E1E58E}"/>
          </ac:graphicFrameMkLst>
        </pc:graphicFrameChg>
      </pc:sldChg>
      <pc:sldChg chg="modNotesTx">
        <pc:chgData name="Oka, Dr. Dennis Kengo (JP)" userId="aeb014c5-2f18-4035-80ba-4d519a44d38a" providerId="ADAL" clId="{A78CBB39-8457-4695-86E0-BC42CBE1CD5A}" dt="2025-05-14T14:54:17.401" v="11" actId="20577"/>
        <pc:sldMkLst>
          <pc:docMk/>
          <pc:sldMk cId="2143368257" sldId="2147482794"/>
        </pc:sldMkLst>
      </pc:sldChg>
      <pc:sldChg chg="modNotesTx">
        <pc:chgData name="Oka, Dr. Dennis Kengo (JP)" userId="aeb014c5-2f18-4035-80ba-4d519a44d38a" providerId="ADAL" clId="{A78CBB39-8457-4695-86E0-BC42CBE1CD5A}" dt="2025-05-14T14:55:57.811" v="19" actId="20577"/>
        <pc:sldMkLst>
          <pc:docMk/>
          <pc:sldMk cId="3663075995" sldId="2147482795"/>
        </pc:sldMkLst>
      </pc:sldChg>
      <pc:sldChg chg="modTransition modNotesTx">
        <pc:chgData name="Oka, Dr. Dennis Kengo (JP)" userId="aeb014c5-2f18-4035-80ba-4d519a44d38a" providerId="ADAL" clId="{A78CBB39-8457-4695-86E0-BC42CBE1CD5A}" dt="2025-05-14T17:28:54.542" v="3150"/>
        <pc:sldMkLst>
          <pc:docMk/>
          <pc:sldMk cId="1512448600" sldId="2147482798"/>
        </pc:sldMkLst>
      </pc:sldChg>
      <pc:sldChg chg="addSp delSp modSp mod modNotesTx">
        <pc:chgData name="Oka, Dr. Dennis Kengo (JP)" userId="aeb014c5-2f18-4035-80ba-4d519a44d38a" providerId="ADAL" clId="{A78CBB39-8457-4695-86E0-BC42CBE1CD5A}" dt="2025-05-14T18:32:55.891" v="4319" actId="20577"/>
        <pc:sldMkLst>
          <pc:docMk/>
          <pc:sldMk cId="1846052887" sldId="2147482799"/>
        </pc:sldMkLst>
        <pc:spChg chg="del">
          <ac:chgData name="Oka, Dr. Dennis Kengo (JP)" userId="aeb014c5-2f18-4035-80ba-4d519a44d38a" providerId="ADAL" clId="{A78CBB39-8457-4695-86E0-BC42CBE1CD5A}" dt="2025-05-14T17:26:49.737" v="3136" actId="478"/>
          <ac:spMkLst>
            <pc:docMk/>
            <pc:sldMk cId="1846052887" sldId="2147482799"/>
            <ac:spMk id="3" creationId="{5CE2415E-9CC0-7C0F-BB5C-E6D115A31F88}"/>
          </ac:spMkLst>
        </pc:spChg>
        <pc:spChg chg="add mod">
          <ac:chgData name="Oka, Dr. Dennis Kengo (JP)" userId="aeb014c5-2f18-4035-80ba-4d519a44d38a" providerId="ADAL" clId="{A78CBB39-8457-4695-86E0-BC42CBE1CD5A}" dt="2025-05-14T17:26:50.068" v="3137"/>
          <ac:spMkLst>
            <pc:docMk/>
            <pc:sldMk cId="1846052887" sldId="2147482799"/>
            <ac:spMk id="5" creationId="{DAC293D0-DBE0-E83D-22C7-D92F72A9F838}"/>
          </ac:spMkLst>
        </pc:spChg>
      </pc:sldChg>
      <pc:sldChg chg="modSp mod modNotesTx">
        <pc:chgData name="Oka, Dr. Dennis Kengo (JP)" userId="aeb014c5-2f18-4035-80ba-4d519a44d38a" providerId="ADAL" clId="{A78CBB39-8457-4695-86E0-BC42CBE1CD5A}" dt="2025-05-14T17:07:31.715" v="2254" actId="20577"/>
        <pc:sldMkLst>
          <pc:docMk/>
          <pc:sldMk cId="1849794710" sldId="2147482800"/>
        </pc:sldMkLst>
        <pc:spChg chg="mod">
          <ac:chgData name="Oka, Dr. Dennis Kengo (JP)" userId="aeb014c5-2f18-4035-80ba-4d519a44d38a" providerId="ADAL" clId="{A78CBB39-8457-4695-86E0-BC42CBE1CD5A}" dt="2025-05-14T15:28:27.597" v="212" actId="20577"/>
          <ac:spMkLst>
            <pc:docMk/>
            <pc:sldMk cId="1849794710" sldId="2147482800"/>
            <ac:spMk id="6" creationId="{63293545-7AF4-E8FF-9593-E52C42C9530D}"/>
          </ac:spMkLst>
        </pc:spChg>
        <pc:spChg chg="mod">
          <ac:chgData name="Oka, Dr. Dennis Kengo (JP)" userId="aeb014c5-2f18-4035-80ba-4d519a44d38a" providerId="ADAL" clId="{A78CBB39-8457-4695-86E0-BC42CBE1CD5A}" dt="2025-05-14T15:10:55.464" v="107" actId="20577"/>
          <ac:spMkLst>
            <pc:docMk/>
            <pc:sldMk cId="1849794710" sldId="2147482800"/>
            <ac:spMk id="7" creationId="{F9057DCB-EE69-7565-B8EB-14F6D65D4787}"/>
          </ac:spMkLst>
        </pc:spChg>
      </pc:sldChg>
      <pc:sldChg chg="modNotesTx">
        <pc:chgData name="Oka, Dr. Dennis Kengo (JP)" userId="aeb014c5-2f18-4035-80ba-4d519a44d38a" providerId="ADAL" clId="{A78CBB39-8457-4695-86E0-BC42CBE1CD5A}" dt="2025-05-14T17:19:43.059" v="3034" actId="20577"/>
        <pc:sldMkLst>
          <pc:docMk/>
          <pc:sldMk cId="802530175" sldId="2147482801"/>
        </pc:sldMkLst>
      </pc:sldChg>
      <pc:sldChg chg="modSp mod modNotesTx">
        <pc:chgData name="Oka, Dr. Dennis Kengo (JP)" userId="aeb014c5-2f18-4035-80ba-4d519a44d38a" providerId="ADAL" clId="{A78CBB39-8457-4695-86E0-BC42CBE1CD5A}" dt="2025-05-14T18:30:02.657" v="4298" actId="20577"/>
        <pc:sldMkLst>
          <pc:docMk/>
          <pc:sldMk cId="3291569219" sldId="2147482802"/>
        </pc:sldMkLst>
        <pc:spChg chg="mod">
          <ac:chgData name="Oka, Dr. Dennis Kengo (JP)" userId="aeb014c5-2f18-4035-80ba-4d519a44d38a" providerId="ADAL" clId="{A78CBB39-8457-4695-86E0-BC42CBE1CD5A}" dt="2025-05-14T17:25:52.971" v="3127" actId="1076"/>
          <ac:spMkLst>
            <pc:docMk/>
            <pc:sldMk cId="3291569219" sldId="2147482802"/>
            <ac:spMk id="3" creationId="{E77DA9C8-D1A5-21A2-299F-8DCE429DFCFE}"/>
          </ac:spMkLst>
        </pc:spChg>
        <pc:spChg chg="mod">
          <ac:chgData name="Oka, Dr. Dennis Kengo (JP)" userId="aeb014c5-2f18-4035-80ba-4d519a44d38a" providerId="ADAL" clId="{A78CBB39-8457-4695-86E0-BC42CBE1CD5A}" dt="2025-05-14T17:24:17.997" v="3102" actId="1076"/>
          <ac:spMkLst>
            <pc:docMk/>
            <pc:sldMk cId="3291569219" sldId="2147482802"/>
            <ac:spMk id="10" creationId="{54CE1DE4-FEE0-61B3-9DE0-8F7C91BFFE14}"/>
          </ac:spMkLst>
        </pc:spChg>
        <pc:spChg chg="mod">
          <ac:chgData name="Oka, Dr. Dennis Kengo (JP)" userId="aeb014c5-2f18-4035-80ba-4d519a44d38a" providerId="ADAL" clId="{A78CBB39-8457-4695-86E0-BC42CBE1CD5A}" dt="2025-05-14T17:25:19.921" v="3118" actId="14100"/>
          <ac:spMkLst>
            <pc:docMk/>
            <pc:sldMk cId="3291569219" sldId="2147482802"/>
            <ac:spMk id="17" creationId="{4F6F756A-3A10-0BA8-5D6D-0F2210C4A2C9}"/>
          </ac:spMkLst>
        </pc:spChg>
        <pc:spChg chg="mod">
          <ac:chgData name="Oka, Dr. Dennis Kengo (JP)" userId="aeb014c5-2f18-4035-80ba-4d519a44d38a" providerId="ADAL" clId="{A78CBB39-8457-4695-86E0-BC42CBE1CD5A}" dt="2025-05-14T17:22:06.328" v="3041" actId="1076"/>
          <ac:spMkLst>
            <pc:docMk/>
            <pc:sldMk cId="3291569219" sldId="2147482802"/>
            <ac:spMk id="19" creationId="{B9EED1BA-D3D2-FC47-B198-393292045741}"/>
          </ac:spMkLst>
        </pc:spChg>
        <pc:spChg chg="mod">
          <ac:chgData name="Oka, Dr. Dennis Kengo (JP)" userId="aeb014c5-2f18-4035-80ba-4d519a44d38a" providerId="ADAL" clId="{A78CBB39-8457-4695-86E0-BC42CBE1CD5A}" dt="2025-05-14T17:24:35.985" v="3113" actId="20577"/>
          <ac:spMkLst>
            <pc:docMk/>
            <pc:sldMk cId="3291569219" sldId="2147482802"/>
            <ac:spMk id="20" creationId="{6C0C0DA1-0638-E92A-8AE0-67801888A2AE}"/>
          </ac:spMkLst>
        </pc:spChg>
        <pc:spChg chg="mod">
          <ac:chgData name="Oka, Dr. Dennis Kengo (JP)" userId="aeb014c5-2f18-4035-80ba-4d519a44d38a" providerId="ADAL" clId="{A78CBB39-8457-4695-86E0-BC42CBE1CD5A}" dt="2025-05-14T15:05:42.716" v="56" actId="20577"/>
          <ac:spMkLst>
            <pc:docMk/>
            <pc:sldMk cId="3291569219" sldId="2147482802"/>
            <ac:spMk id="22" creationId="{4467629A-653B-2414-2A7C-61ECBF4BE438}"/>
          </ac:spMkLst>
        </pc:spChg>
        <pc:grpChg chg="mod">
          <ac:chgData name="Oka, Dr. Dennis Kengo (JP)" userId="aeb014c5-2f18-4035-80ba-4d519a44d38a" providerId="ADAL" clId="{A78CBB39-8457-4695-86E0-BC42CBE1CD5A}" dt="2025-05-14T17:24:17.997" v="3102" actId="1076"/>
          <ac:grpSpMkLst>
            <pc:docMk/>
            <pc:sldMk cId="3291569219" sldId="2147482802"/>
            <ac:grpSpMk id="4" creationId="{709816BA-6440-4C4D-0C5F-D8ADC62ACBB9}"/>
          </ac:grpSpMkLst>
        </pc:grpChg>
        <pc:grpChg chg="mod">
          <ac:chgData name="Oka, Dr. Dennis Kengo (JP)" userId="aeb014c5-2f18-4035-80ba-4d519a44d38a" providerId="ADAL" clId="{A78CBB39-8457-4695-86E0-BC42CBE1CD5A}" dt="2025-05-14T17:22:06.328" v="3041" actId="1076"/>
          <ac:grpSpMkLst>
            <pc:docMk/>
            <pc:sldMk cId="3291569219" sldId="2147482802"/>
            <ac:grpSpMk id="14" creationId="{5EC53D28-9D47-28D7-7071-680642FF4930}"/>
          </ac:grpSpMkLst>
        </pc:grpChg>
        <pc:picChg chg="mod">
          <ac:chgData name="Oka, Dr. Dennis Kengo (JP)" userId="aeb014c5-2f18-4035-80ba-4d519a44d38a" providerId="ADAL" clId="{A78CBB39-8457-4695-86E0-BC42CBE1CD5A}" dt="2025-05-14T17:24:17.997" v="3102" actId="1076"/>
          <ac:picMkLst>
            <pc:docMk/>
            <pc:sldMk cId="3291569219" sldId="2147482802"/>
            <ac:picMk id="12" creationId="{C1268C85-BCAD-587A-BB43-35322B260ACC}"/>
          </ac:picMkLst>
        </pc:picChg>
        <pc:picChg chg="mod">
          <ac:chgData name="Oka, Dr. Dennis Kengo (JP)" userId="aeb014c5-2f18-4035-80ba-4d519a44d38a" providerId="ADAL" clId="{A78CBB39-8457-4695-86E0-BC42CBE1CD5A}" dt="2025-05-14T17:22:06.328" v="3041" actId="1076"/>
          <ac:picMkLst>
            <pc:docMk/>
            <pc:sldMk cId="3291569219" sldId="2147482802"/>
            <ac:picMk id="28" creationId="{A837758F-860A-DAB0-49EE-E85A103E6ED7}"/>
          </ac:picMkLst>
        </pc:picChg>
      </pc:sldChg>
      <pc:sldChg chg="del mod modShow">
        <pc:chgData name="Oka, Dr. Dennis Kengo (JP)" userId="aeb014c5-2f18-4035-80ba-4d519a44d38a" providerId="ADAL" clId="{A78CBB39-8457-4695-86E0-BC42CBE1CD5A}" dt="2025-05-14T17:20:43.336" v="3035" actId="47"/>
        <pc:sldMkLst>
          <pc:docMk/>
          <pc:sldMk cId="1791521219" sldId="2147482804"/>
        </pc:sldMkLst>
      </pc:sldChg>
      <pc:sldChg chg="del mod modShow">
        <pc:chgData name="Oka, Dr. Dennis Kengo (JP)" userId="aeb014c5-2f18-4035-80ba-4d519a44d38a" providerId="ADAL" clId="{A78CBB39-8457-4695-86E0-BC42CBE1CD5A}" dt="2025-05-14T17:20:44.698" v="3036" actId="47"/>
        <pc:sldMkLst>
          <pc:docMk/>
          <pc:sldMk cId="1372980880" sldId="2147482817"/>
        </pc:sldMkLst>
      </pc:sldChg>
      <pc:sldChg chg="modNotesTx">
        <pc:chgData name="Oka, Dr. Dennis Kengo (JP)" userId="aeb014c5-2f18-4035-80ba-4d519a44d38a" providerId="ADAL" clId="{A78CBB39-8457-4695-86E0-BC42CBE1CD5A}" dt="2025-05-14T18:29:32.334" v="4292" actId="20577"/>
        <pc:sldMkLst>
          <pc:docMk/>
          <pc:sldMk cId="1176644387" sldId="2147482819"/>
        </pc:sldMkLst>
      </pc:sldChg>
      <pc:sldChg chg="modNotesTx">
        <pc:chgData name="Oka, Dr. Dennis Kengo (JP)" userId="aeb014c5-2f18-4035-80ba-4d519a44d38a" providerId="ADAL" clId="{A78CBB39-8457-4695-86E0-BC42CBE1CD5A}" dt="2025-05-14T14:52:07.272" v="5" actId="20577"/>
        <pc:sldMkLst>
          <pc:docMk/>
          <pc:sldMk cId="2290823227" sldId="2147482826"/>
        </pc:sldMkLst>
      </pc:sldChg>
      <pc:sldChg chg="modSp">
        <pc:chgData name="Oka, Dr. Dennis Kengo (JP)" userId="aeb014c5-2f18-4035-80ba-4d519a44d38a" providerId="ADAL" clId="{A78CBB39-8457-4695-86E0-BC42CBE1CD5A}" dt="2025-05-14T18:21:42.379" v="4284" actId="20577"/>
        <pc:sldMkLst>
          <pc:docMk/>
          <pc:sldMk cId="1729448853" sldId="2147482830"/>
        </pc:sldMkLst>
        <pc:graphicFrameChg chg="mod">
          <ac:chgData name="Oka, Dr. Dennis Kengo (JP)" userId="aeb014c5-2f18-4035-80ba-4d519a44d38a" providerId="ADAL" clId="{A78CBB39-8457-4695-86E0-BC42CBE1CD5A}" dt="2025-05-14T18:21:42.379" v="4284" actId="20577"/>
          <ac:graphicFrameMkLst>
            <pc:docMk/>
            <pc:sldMk cId="1729448853" sldId="2147482830"/>
            <ac:graphicFrameMk id="5" creationId="{051031D6-590A-3D07-295E-F15E52B7F129}"/>
          </ac:graphicFrameMkLst>
        </pc:graphicFrameChg>
      </pc:sldChg>
      <pc:sldChg chg="modSp mod modNotesTx">
        <pc:chgData name="Oka, Dr. Dennis Kengo (JP)" userId="aeb014c5-2f18-4035-80ba-4d519a44d38a" providerId="ADAL" clId="{A78CBB39-8457-4695-86E0-BC42CBE1CD5A}" dt="2025-05-14T17:47:37.696" v="4240" actId="20577"/>
        <pc:sldMkLst>
          <pc:docMk/>
          <pc:sldMk cId="1027660809" sldId="2147482831"/>
        </pc:sldMkLst>
        <pc:spChg chg="mod">
          <ac:chgData name="Oka, Dr. Dennis Kengo (JP)" userId="aeb014c5-2f18-4035-80ba-4d519a44d38a" providerId="ADAL" clId="{A78CBB39-8457-4695-86E0-BC42CBE1CD5A}" dt="2025-05-14T17:47:37.696" v="4240" actId="20577"/>
          <ac:spMkLst>
            <pc:docMk/>
            <pc:sldMk cId="1027660809" sldId="2147482831"/>
            <ac:spMk id="5" creationId="{724D9F25-3AA6-E202-C0A6-275DE7A1FA65}"/>
          </ac:spMkLst>
        </pc:spChg>
      </pc:sldChg>
      <pc:sldChg chg="del mod modShow">
        <pc:chgData name="Oka, Dr. Dennis Kengo (JP)" userId="aeb014c5-2f18-4035-80ba-4d519a44d38a" providerId="ADAL" clId="{A78CBB39-8457-4695-86E0-BC42CBE1CD5A}" dt="2025-05-14T17:20:48.199" v="3037" actId="47"/>
        <pc:sldMkLst>
          <pc:docMk/>
          <pc:sldMk cId="511309730" sldId="2147482832"/>
        </pc:sldMkLst>
      </pc:sldChg>
      <pc:sldChg chg="addSp delSp modSp mod modNotesTx">
        <pc:chgData name="Oka, Dr. Dennis Kengo (JP)" userId="aeb014c5-2f18-4035-80ba-4d519a44d38a" providerId="ADAL" clId="{A78CBB39-8457-4695-86E0-BC42CBE1CD5A}" dt="2025-05-14T17:27:18.027" v="3144" actId="478"/>
        <pc:sldMkLst>
          <pc:docMk/>
          <pc:sldMk cId="4095579172" sldId="2147482833"/>
        </pc:sldMkLst>
        <pc:spChg chg="add del mod">
          <ac:chgData name="Oka, Dr. Dennis Kengo (JP)" userId="aeb014c5-2f18-4035-80ba-4d519a44d38a" providerId="ADAL" clId="{A78CBB39-8457-4695-86E0-BC42CBE1CD5A}" dt="2025-05-14T17:27:18.027" v="3144" actId="478"/>
          <ac:spMkLst>
            <pc:docMk/>
            <pc:sldMk cId="4095579172" sldId="2147482833"/>
            <ac:spMk id="2" creationId="{A2E4E301-BD68-B8CF-2CAA-02DBA88AB1AB}"/>
          </ac:spMkLst>
        </pc:spChg>
        <pc:spChg chg="del">
          <ac:chgData name="Oka, Dr. Dennis Kengo (JP)" userId="aeb014c5-2f18-4035-80ba-4d519a44d38a" providerId="ADAL" clId="{A78CBB39-8457-4695-86E0-BC42CBE1CD5A}" dt="2025-05-14T17:27:03.465" v="3140" actId="478"/>
          <ac:spMkLst>
            <pc:docMk/>
            <pc:sldMk cId="4095579172" sldId="2147482833"/>
            <ac:spMk id="3" creationId="{FF699763-A03B-B362-B777-16491043A01B}"/>
          </ac:spMkLst>
        </pc:spChg>
      </pc:sldChg>
      <pc:sldChg chg="addSp delSp modSp mod">
        <pc:chgData name="Oka, Dr. Dennis Kengo (JP)" userId="aeb014c5-2f18-4035-80ba-4d519a44d38a" providerId="ADAL" clId="{A78CBB39-8457-4695-86E0-BC42CBE1CD5A}" dt="2025-05-14T17:26:29.896" v="3129"/>
        <pc:sldMkLst>
          <pc:docMk/>
          <pc:sldMk cId="1587386098" sldId="2147482834"/>
        </pc:sldMkLst>
        <pc:spChg chg="del">
          <ac:chgData name="Oka, Dr. Dennis Kengo (JP)" userId="aeb014c5-2f18-4035-80ba-4d519a44d38a" providerId="ADAL" clId="{A78CBB39-8457-4695-86E0-BC42CBE1CD5A}" dt="2025-05-14T17:26:29.315" v="3128" actId="478"/>
          <ac:spMkLst>
            <pc:docMk/>
            <pc:sldMk cId="1587386098" sldId="2147482834"/>
            <ac:spMk id="3" creationId="{77DC626A-373D-5404-A1D5-415E6B34191A}"/>
          </ac:spMkLst>
        </pc:spChg>
        <pc:spChg chg="mod">
          <ac:chgData name="Oka, Dr. Dennis Kengo (JP)" userId="aeb014c5-2f18-4035-80ba-4d519a44d38a" providerId="ADAL" clId="{A78CBB39-8457-4695-86E0-BC42CBE1CD5A}" dt="2025-05-14T16:59:16.569" v="2212" actId="1037"/>
          <ac:spMkLst>
            <pc:docMk/>
            <pc:sldMk cId="1587386098" sldId="2147482834"/>
            <ac:spMk id="13" creationId="{EBD3E561-EF88-1524-4C2A-21F0B7AB3088}"/>
          </ac:spMkLst>
        </pc:spChg>
        <pc:spChg chg="mod">
          <ac:chgData name="Oka, Dr. Dennis Kengo (JP)" userId="aeb014c5-2f18-4035-80ba-4d519a44d38a" providerId="ADAL" clId="{A78CBB39-8457-4695-86E0-BC42CBE1CD5A}" dt="2025-05-14T16:58:10.771" v="2207" actId="1076"/>
          <ac:spMkLst>
            <pc:docMk/>
            <pc:sldMk cId="1587386098" sldId="2147482834"/>
            <ac:spMk id="15" creationId="{94C04B8E-BBFA-558D-C52F-3619BC28E98B}"/>
          </ac:spMkLst>
        </pc:spChg>
        <pc:spChg chg="add mod">
          <ac:chgData name="Oka, Dr. Dennis Kengo (JP)" userId="aeb014c5-2f18-4035-80ba-4d519a44d38a" providerId="ADAL" clId="{A78CBB39-8457-4695-86E0-BC42CBE1CD5A}" dt="2025-05-14T17:26:29.896" v="3129"/>
          <ac:spMkLst>
            <pc:docMk/>
            <pc:sldMk cId="1587386098" sldId="2147482834"/>
            <ac:spMk id="20" creationId="{91B2EF17-4C5A-F448-31FC-E7D28F223870}"/>
          </ac:spMkLst>
        </pc:spChg>
        <pc:spChg chg="mod">
          <ac:chgData name="Oka, Dr. Dennis Kengo (JP)" userId="aeb014c5-2f18-4035-80ba-4d519a44d38a" providerId="ADAL" clId="{A78CBB39-8457-4695-86E0-BC42CBE1CD5A}" dt="2025-05-14T16:58:10.771" v="2207" actId="1076"/>
          <ac:spMkLst>
            <pc:docMk/>
            <pc:sldMk cId="1587386098" sldId="2147482834"/>
            <ac:spMk id="25" creationId="{01109761-0C88-B468-DB1B-08BC48D07B31}"/>
          </ac:spMkLst>
        </pc:spChg>
        <pc:spChg chg="mod">
          <ac:chgData name="Oka, Dr. Dennis Kengo (JP)" userId="aeb014c5-2f18-4035-80ba-4d519a44d38a" providerId="ADAL" clId="{A78CBB39-8457-4695-86E0-BC42CBE1CD5A}" dt="2025-05-14T16:58:10.771" v="2207" actId="1076"/>
          <ac:spMkLst>
            <pc:docMk/>
            <pc:sldMk cId="1587386098" sldId="2147482834"/>
            <ac:spMk id="33" creationId="{E8C76E2D-CC51-ADD9-1F0D-C41B6BDE032E}"/>
          </ac:spMkLst>
        </pc:spChg>
        <pc:spChg chg="mod">
          <ac:chgData name="Oka, Dr. Dennis Kengo (JP)" userId="aeb014c5-2f18-4035-80ba-4d519a44d38a" providerId="ADAL" clId="{A78CBB39-8457-4695-86E0-BC42CBE1CD5A}" dt="2025-05-14T16:58:10.771" v="2207" actId="1076"/>
          <ac:spMkLst>
            <pc:docMk/>
            <pc:sldMk cId="1587386098" sldId="2147482834"/>
            <ac:spMk id="35" creationId="{8423827D-0C06-0358-D1FA-0C9B95EF6CF8}"/>
          </ac:spMkLst>
        </pc:spChg>
        <pc:spChg chg="mod">
          <ac:chgData name="Oka, Dr. Dennis Kengo (JP)" userId="aeb014c5-2f18-4035-80ba-4d519a44d38a" providerId="ADAL" clId="{A78CBB39-8457-4695-86E0-BC42CBE1CD5A}" dt="2025-05-14T16:58:10.771" v="2207" actId="1076"/>
          <ac:spMkLst>
            <pc:docMk/>
            <pc:sldMk cId="1587386098" sldId="2147482834"/>
            <ac:spMk id="49" creationId="{A8915660-DD4D-9D7D-3F78-8DB2EEED213B}"/>
          </ac:spMkLst>
        </pc:spChg>
        <pc:spChg chg="mod">
          <ac:chgData name="Oka, Dr. Dennis Kengo (JP)" userId="aeb014c5-2f18-4035-80ba-4d519a44d38a" providerId="ADAL" clId="{A78CBB39-8457-4695-86E0-BC42CBE1CD5A}" dt="2025-05-14T16:58:10.771" v="2207" actId="1076"/>
          <ac:spMkLst>
            <pc:docMk/>
            <pc:sldMk cId="1587386098" sldId="2147482834"/>
            <ac:spMk id="51" creationId="{13E46321-9B2D-1DAF-05B6-D6300A61E0D6}"/>
          </ac:spMkLst>
        </pc:spChg>
        <pc:spChg chg="mod">
          <ac:chgData name="Oka, Dr. Dennis Kengo (JP)" userId="aeb014c5-2f18-4035-80ba-4d519a44d38a" providerId="ADAL" clId="{A78CBB39-8457-4695-86E0-BC42CBE1CD5A}" dt="2025-05-14T16:58:10.771" v="2207" actId="1076"/>
          <ac:spMkLst>
            <pc:docMk/>
            <pc:sldMk cId="1587386098" sldId="2147482834"/>
            <ac:spMk id="53" creationId="{7B73E3EE-3717-D9D8-2BAC-8D1CC5964778}"/>
          </ac:spMkLst>
        </pc:spChg>
        <pc:spChg chg="mod">
          <ac:chgData name="Oka, Dr. Dennis Kengo (JP)" userId="aeb014c5-2f18-4035-80ba-4d519a44d38a" providerId="ADAL" clId="{A78CBB39-8457-4695-86E0-BC42CBE1CD5A}" dt="2025-05-14T16:58:10.771" v="2207" actId="1076"/>
          <ac:spMkLst>
            <pc:docMk/>
            <pc:sldMk cId="1587386098" sldId="2147482834"/>
            <ac:spMk id="62" creationId="{DE280387-C738-0E94-9E1E-E97B4D1BE5DB}"/>
          </ac:spMkLst>
        </pc:spChg>
        <pc:spChg chg="mod">
          <ac:chgData name="Oka, Dr. Dennis Kengo (JP)" userId="aeb014c5-2f18-4035-80ba-4d519a44d38a" providerId="ADAL" clId="{A78CBB39-8457-4695-86E0-BC42CBE1CD5A}" dt="2025-05-14T16:58:10.771" v="2207" actId="1076"/>
          <ac:spMkLst>
            <pc:docMk/>
            <pc:sldMk cId="1587386098" sldId="2147482834"/>
            <ac:spMk id="64" creationId="{85AB7257-7D5D-A9D6-7463-503C1F13C64C}"/>
          </ac:spMkLst>
        </pc:spChg>
        <pc:spChg chg="mod">
          <ac:chgData name="Oka, Dr. Dennis Kengo (JP)" userId="aeb014c5-2f18-4035-80ba-4d519a44d38a" providerId="ADAL" clId="{A78CBB39-8457-4695-86E0-BC42CBE1CD5A}" dt="2025-05-14T16:58:10.771" v="2207" actId="1076"/>
          <ac:spMkLst>
            <pc:docMk/>
            <pc:sldMk cId="1587386098" sldId="2147482834"/>
            <ac:spMk id="68" creationId="{213BF7C0-019A-B702-46D8-5B6D1186125C}"/>
          </ac:spMkLst>
        </pc:spChg>
        <pc:grpChg chg="mod">
          <ac:chgData name="Oka, Dr. Dennis Kengo (JP)" userId="aeb014c5-2f18-4035-80ba-4d519a44d38a" providerId="ADAL" clId="{A78CBB39-8457-4695-86E0-BC42CBE1CD5A}" dt="2025-05-14T16:59:16.569" v="2212" actId="1037"/>
          <ac:grpSpMkLst>
            <pc:docMk/>
            <pc:sldMk cId="1587386098" sldId="2147482834"/>
            <ac:grpSpMk id="37" creationId="{4C872D7D-FAB1-50D7-687F-78F921886BF3}"/>
          </ac:grpSpMkLst>
        </pc:grpChg>
        <pc:grpChg chg="mod">
          <ac:chgData name="Oka, Dr. Dennis Kengo (JP)" userId="aeb014c5-2f18-4035-80ba-4d519a44d38a" providerId="ADAL" clId="{A78CBB39-8457-4695-86E0-BC42CBE1CD5A}" dt="2025-05-14T16:59:16.569" v="2212" actId="1037"/>
          <ac:grpSpMkLst>
            <pc:docMk/>
            <pc:sldMk cId="1587386098" sldId="2147482834"/>
            <ac:grpSpMk id="56" creationId="{33192AC0-0C17-E2B9-5360-5CB03E72AE2E}"/>
          </ac:grpSpMkLst>
        </pc:grpChg>
        <pc:graphicFrameChg chg="mod">
          <ac:chgData name="Oka, Dr. Dennis Kengo (JP)" userId="aeb014c5-2f18-4035-80ba-4d519a44d38a" providerId="ADAL" clId="{A78CBB39-8457-4695-86E0-BC42CBE1CD5A}" dt="2025-05-14T16:59:16.569" v="2212" actId="1037"/>
          <ac:graphicFrameMkLst>
            <pc:docMk/>
            <pc:sldMk cId="1587386098" sldId="2147482834"/>
            <ac:graphicFrameMk id="8" creationId="{5F806A1D-A452-B3BA-0767-1E79939F6DD9}"/>
          </ac:graphicFrameMkLst>
        </pc:graphicFrameChg>
        <pc:cxnChg chg="mod">
          <ac:chgData name="Oka, Dr. Dennis Kengo (JP)" userId="aeb014c5-2f18-4035-80ba-4d519a44d38a" providerId="ADAL" clId="{A78CBB39-8457-4695-86E0-BC42CBE1CD5A}" dt="2025-05-14T16:59:16.569" v="2212" actId="1037"/>
          <ac:cxnSpMkLst>
            <pc:docMk/>
            <pc:sldMk cId="1587386098" sldId="2147482834"/>
            <ac:cxnSpMk id="6" creationId="{BFB11283-9F66-0DE5-D71B-E98D03C06964}"/>
          </ac:cxnSpMkLst>
        </pc:cxnChg>
      </pc:sldChg>
      <pc:sldChg chg="addSp delSp modSp mod modNotesTx">
        <pc:chgData name="Oka, Dr. Dennis Kengo (JP)" userId="aeb014c5-2f18-4035-80ba-4d519a44d38a" providerId="ADAL" clId="{A78CBB39-8457-4695-86E0-BC42CBE1CD5A}" dt="2025-05-14T17:48:49.132" v="4273" actId="20577"/>
        <pc:sldMkLst>
          <pc:docMk/>
          <pc:sldMk cId="767574382" sldId="2147482835"/>
        </pc:sldMkLst>
        <pc:spChg chg="add mod">
          <ac:chgData name="Oka, Dr. Dennis Kengo (JP)" userId="aeb014c5-2f18-4035-80ba-4d519a44d38a" providerId="ADAL" clId="{A78CBB39-8457-4695-86E0-BC42CBE1CD5A}" dt="2025-05-14T17:31:29.462" v="3165" actId="207"/>
          <ac:spMkLst>
            <pc:docMk/>
            <pc:sldMk cId="767574382" sldId="2147482835"/>
            <ac:spMk id="3" creationId="{52CB6829-7455-86A7-E448-11B556A9E8C4}"/>
          </ac:spMkLst>
        </pc:spChg>
        <pc:spChg chg="mod">
          <ac:chgData name="Oka, Dr. Dennis Kengo (JP)" userId="aeb014c5-2f18-4035-80ba-4d519a44d38a" providerId="ADAL" clId="{A78CBB39-8457-4695-86E0-BC42CBE1CD5A}" dt="2025-05-14T16:08:12.857" v="789" actId="20577"/>
          <ac:spMkLst>
            <pc:docMk/>
            <pc:sldMk cId="767574382" sldId="2147482835"/>
            <ac:spMk id="4" creationId="{5D8AA502-9B33-E1BF-08C6-67B9F7D5453A}"/>
          </ac:spMkLst>
        </pc:spChg>
        <pc:spChg chg="add mod">
          <ac:chgData name="Oka, Dr. Dennis Kengo (JP)" userId="aeb014c5-2f18-4035-80ba-4d519a44d38a" providerId="ADAL" clId="{A78CBB39-8457-4695-86E0-BC42CBE1CD5A}" dt="2025-05-14T17:26:35.483" v="3131"/>
          <ac:spMkLst>
            <pc:docMk/>
            <pc:sldMk cId="767574382" sldId="2147482835"/>
            <ac:spMk id="6" creationId="{01637F50-E97E-3578-F189-B393986E7325}"/>
          </ac:spMkLst>
        </pc:spChg>
        <pc:spChg chg="del">
          <ac:chgData name="Oka, Dr. Dennis Kengo (JP)" userId="aeb014c5-2f18-4035-80ba-4d519a44d38a" providerId="ADAL" clId="{A78CBB39-8457-4695-86E0-BC42CBE1CD5A}" dt="2025-05-14T17:26:35.138" v="3130" actId="478"/>
          <ac:spMkLst>
            <pc:docMk/>
            <pc:sldMk cId="767574382" sldId="2147482835"/>
            <ac:spMk id="8" creationId="{54D42C0B-3365-3DEF-07A2-5AAB58F45A07}"/>
          </ac:spMkLst>
        </pc:spChg>
        <pc:spChg chg="del">
          <ac:chgData name="Oka, Dr. Dennis Kengo (JP)" userId="aeb014c5-2f18-4035-80ba-4d519a44d38a" providerId="ADAL" clId="{A78CBB39-8457-4695-86E0-BC42CBE1CD5A}" dt="2025-05-14T16:06:55.652" v="767" actId="478"/>
          <ac:spMkLst>
            <pc:docMk/>
            <pc:sldMk cId="767574382" sldId="2147482835"/>
            <ac:spMk id="9" creationId="{04BC521E-A8EB-CEED-4E12-C045F0E025A9}"/>
          </ac:spMkLst>
        </pc:spChg>
        <pc:spChg chg="mod">
          <ac:chgData name="Oka, Dr. Dennis Kengo (JP)" userId="aeb014c5-2f18-4035-80ba-4d519a44d38a" providerId="ADAL" clId="{A78CBB39-8457-4695-86E0-BC42CBE1CD5A}" dt="2025-05-14T16:07:20.863" v="769" actId="6549"/>
          <ac:spMkLst>
            <pc:docMk/>
            <pc:sldMk cId="767574382" sldId="2147482835"/>
            <ac:spMk id="19" creationId="{197E7C45-60FB-F4EE-B9BA-746F242458D7}"/>
          </ac:spMkLst>
        </pc:spChg>
        <pc:graphicFrameChg chg="mod modGraphic">
          <ac:chgData name="Oka, Dr. Dennis Kengo (JP)" userId="aeb014c5-2f18-4035-80ba-4d519a44d38a" providerId="ADAL" clId="{A78CBB39-8457-4695-86E0-BC42CBE1CD5A}" dt="2025-05-14T17:48:49.132" v="4273" actId="20577"/>
          <ac:graphicFrameMkLst>
            <pc:docMk/>
            <pc:sldMk cId="767574382" sldId="2147482835"/>
            <ac:graphicFrameMk id="5" creationId="{22813A92-209B-454E-0298-4F1BB6FB5543}"/>
          </ac:graphicFrameMkLst>
        </pc:graphicFrameChg>
      </pc:sldChg>
      <pc:sldChg chg="modSp modNotesTx">
        <pc:chgData name="Oka, Dr. Dennis Kengo (JP)" userId="aeb014c5-2f18-4035-80ba-4d519a44d38a" providerId="ADAL" clId="{A78CBB39-8457-4695-86E0-BC42CBE1CD5A}" dt="2025-05-14T18:22:04.936" v="4286" actId="20577"/>
        <pc:sldMkLst>
          <pc:docMk/>
          <pc:sldMk cId="1746126592" sldId="2147482836"/>
        </pc:sldMkLst>
        <pc:graphicFrameChg chg="mod">
          <ac:chgData name="Oka, Dr. Dennis Kengo (JP)" userId="aeb014c5-2f18-4035-80ba-4d519a44d38a" providerId="ADAL" clId="{A78CBB39-8457-4695-86E0-BC42CBE1CD5A}" dt="2025-05-14T18:22:04.936" v="4286" actId="20577"/>
          <ac:graphicFrameMkLst>
            <pc:docMk/>
            <pc:sldMk cId="1746126592" sldId="2147482836"/>
            <ac:graphicFrameMk id="5" creationId="{A0C0BF2F-3506-38BE-778D-85C0398E5137}"/>
          </ac:graphicFrameMkLst>
        </pc:graphicFrameChg>
      </pc:sldChg>
      <pc:sldChg chg="addSp delSp modSp mod modNotesTx">
        <pc:chgData name="Oka, Dr. Dennis Kengo (JP)" userId="aeb014c5-2f18-4035-80ba-4d519a44d38a" providerId="ADAL" clId="{A78CBB39-8457-4695-86E0-BC42CBE1CD5A}" dt="2025-05-14T18:24:46.871" v="4291" actId="20577"/>
        <pc:sldMkLst>
          <pc:docMk/>
          <pc:sldMk cId="4153583823" sldId="2147482837"/>
        </pc:sldMkLst>
        <pc:spChg chg="add mod">
          <ac:chgData name="Oka, Dr. Dennis Kengo (JP)" userId="aeb014c5-2f18-4035-80ba-4d519a44d38a" providerId="ADAL" clId="{A78CBB39-8457-4695-86E0-BC42CBE1CD5A}" dt="2025-05-14T17:26:53.940" v="3139"/>
          <ac:spMkLst>
            <pc:docMk/>
            <pc:sldMk cId="4153583823" sldId="2147482837"/>
            <ac:spMk id="3" creationId="{73EF1384-6E9B-B587-C2AD-189BB5ACD7F7}"/>
          </ac:spMkLst>
        </pc:spChg>
        <pc:spChg chg="del">
          <ac:chgData name="Oka, Dr. Dennis Kengo (JP)" userId="aeb014c5-2f18-4035-80ba-4d519a44d38a" providerId="ADAL" clId="{A78CBB39-8457-4695-86E0-BC42CBE1CD5A}" dt="2025-05-14T17:26:53.667" v="3138" actId="478"/>
          <ac:spMkLst>
            <pc:docMk/>
            <pc:sldMk cId="4153583823" sldId="2147482837"/>
            <ac:spMk id="6" creationId="{D55FEC5C-03C4-7DE6-DD2A-8C47A1526197}"/>
          </ac:spMkLst>
        </pc:spChg>
        <pc:graphicFrameChg chg="mod">
          <ac:chgData name="Oka, Dr. Dennis Kengo (JP)" userId="aeb014c5-2f18-4035-80ba-4d519a44d38a" providerId="ADAL" clId="{A78CBB39-8457-4695-86E0-BC42CBE1CD5A}" dt="2025-05-14T18:24:46.871" v="4291" actId="20577"/>
          <ac:graphicFrameMkLst>
            <pc:docMk/>
            <pc:sldMk cId="4153583823" sldId="2147482837"/>
            <ac:graphicFrameMk id="5" creationId="{9C653267-BADF-90B0-8AF1-D1699FA9B5A7}"/>
          </ac:graphicFrameMkLst>
        </pc:graphicFrame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Incidents</c:v>
                </c:pt>
              </c:strCache>
            </c:strRef>
          </c:tx>
          <c:dPt>
            <c:idx val="0"/>
            <c:bubble3D val="0"/>
            <c:spPr>
              <a:solidFill>
                <a:schemeClr val="accent1"/>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1-48ED-40CD-856D-CD91089CF94A}"/>
              </c:ext>
            </c:extLst>
          </c:dPt>
          <c:dPt>
            <c:idx val="1"/>
            <c:bubble3D val="0"/>
            <c:spPr>
              <a:solidFill>
                <a:schemeClr val="accent2"/>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2-48ED-40CD-856D-CD91089CF94A}"/>
              </c:ext>
            </c:extLst>
          </c:dPt>
          <c:dPt>
            <c:idx val="2"/>
            <c:bubble3D val="0"/>
            <c:spPr>
              <a:solidFill>
                <a:schemeClr val="accent3"/>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3-48ED-40CD-856D-CD91089CF94A}"/>
              </c:ext>
            </c:extLst>
          </c:dPt>
          <c:dPt>
            <c:idx val="3"/>
            <c:bubble3D val="0"/>
            <c:spPr>
              <a:solidFill>
                <a:schemeClr val="accent4"/>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4-48ED-40CD-856D-CD91089CF94A}"/>
              </c:ext>
            </c:extLst>
          </c:dPt>
          <c:dPt>
            <c:idx val="4"/>
            <c:bubble3D val="0"/>
            <c:spPr>
              <a:solidFill>
                <a:schemeClr val="accent5"/>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5-48ED-40CD-856D-CD91089CF94A}"/>
              </c:ext>
            </c:extLst>
          </c:dPt>
          <c:dPt>
            <c:idx val="5"/>
            <c:bubble3D val="0"/>
            <c:spPr>
              <a:solidFill>
                <a:schemeClr val="accent6"/>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6-48ED-40CD-856D-CD91089CF94A}"/>
              </c:ext>
            </c:extLst>
          </c:dPt>
          <c:dPt>
            <c:idx val="6"/>
            <c:bubble3D val="0"/>
            <c:spPr>
              <a:solidFill>
                <a:schemeClr val="accent1">
                  <a:lumMod val="6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7-48ED-40CD-856D-CD91089CF94A}"/>
              </c:ext>
            </c:extLst>
          </c:dPt>
          <c:dPt>
            <c:idx val="7"/>
            <c:bubble3D val="0"/>
            <c:spPr>
              <a:solidFill>
                <a:schemeClr val="accent2">
                  <a:lumMod val="6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8-48ED-40CD-856D-CD91089CF94A}"/>
              </c:ext>
            </c:extLst>
          </c:dPt>
          <c:dPt>
            <c:idx val="8"/>
            <c:bubble3D val="0"/>
            <c:spPr>
              <a:solidFill>
                <a:schemeClr val="accent3">
                  <a:lumMod val="6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9-48ED-40CD-856D-CD91089CF94A}"/>
              </c:ext>
            </c:extLst>
          </c:dPt>
          <c:dPt>
            <c:idx val="9"/>
            <c:bubble3D val="0"/>
            <c:spPr>
              <a:solidFill>
                <a:schemeClr val="accent4">
                  <a:lumMod val="6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A-48ED-40CD-856D-CD91089CF94A}"/>
              </c:ext>
            </c:extLst>
          </c:dPt>
          <c:dPt>
            <c:idx val="10"/>
            <c:bubble3D val="0"/>
            <c:spPr>
              <a:solidFill>
                <a:schemeClr val="accent5">
                  <a:lumMod val="6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B-48ED-40CD-856D-CD91089CF94A}"/>
              </c:ext>
            </c:extLst>
          </c:dPt>
          <c:dLbls>
            <c:dLbl>
              <c:idx val="0"/>
              <c:spPr>
                <a:noFill/>
                <a:ln>
                  <a:noFill/>
                </a:ln>
                <a:effectLst/>
              </c:spPr>
              <c:txPr>
                <a:bodyPr rot="0" spcFirstLastPara="1" vertOverflow="ellipsis" vert="horz" wrap="square" lIns="38100" tIns="19050" rIns="38100" bIns="19050" anchor="ctr" anchorCtr="1">
                  <a:spAutoFit/>
                </a:bodyPr>
                <a:lstStyle/>
                <a:p>
                  <a:pPr>
                    <a:defRPr sz="1600" b="1" i="0" u="none" strike="noStrike" kern="1200" spc="0" baseline="0">
                      <a:solidFill>
                        <a:schemeClr val="accent1"/>
                      </a:solidFill>
                      <a:latin typeface="+mn-lt"/>
                      <a:ea typeface="+mn-ea"/>
                      <a:cs typeface="+mn-cs"/>
                    </a:defRPr>
                  </a:pPr>
                  <a:endParaRPr lang="en-US"/>
                </a:p>
              </c:txPr>
              <c:dLblPos val="outEnd"/>
              <c:showLegendKey val="0"/>
              <c:showVal val="0"/>
              <c:showCatName val="1"/>
              <c:showSerName val="0"/>
              <c:showPercent val="0"/>
              <c:showBubbleSize val="0"/>
              <c:extLst>
                <c:ext xmlns:c16="http://schemas.microsoft.com/office/drawing/2014/chart" uri="{C3380CC4-5D6E-409C-BE32-E72D297353CC}">
                  <c16:uniqueId val="{00000001-48ED-40CD-856D-CD91089CF94A}"/>
                </c:ext>
              </c:extLst>
            </c:dLbl>
            <c:dLbl>
              <c:idx val="1"/>
              <c:spPr>
                <a:noFill/>
                <a:ln>
                  <a:noFill/>
                </a:ln>
                <a:effectLst/>
              </c:spPr>
              <c:txPr>
                <a:bodyPr rot="0" spcFirstLastPara="1" vertOverflow="ellipsis" vert="horz" wrap="square" lIns="38100" tIns="19050" rIns="38100" bIns="19050" anchor="ctr" anchorCtr="1">
                  <a:spAutoFit/>
                </a:bodyPr>
                <a:lstStyle/>
                <a:p>
                  <a:pPr>
                    <a:defRPr sz="1600" b="1" i="0" u="none" strike="noStrike" kern="1200" spc="0" baseline="0">
                      <a:solidFill>
                        <a:schemeClr val="accent2"/>
                      </a:solidFill>
                      <a:latin typeface="+mn-lt"/>
                      <a:ea typeface="+mn-ea"/>
                      <a:cs typeface="+mn-cs"/>
                    </a:defRPr>
                  </a:pPr>
                  <a:endParaRPr lang="en-US"/>
                </a:p>
              </c:txPr>
              <c:dLblPos val="outEnd"/>
              <c:showLegendKey val="0"/>
              <c:showVal val="0"/>
              <c:showCatName val="1"/>
              <c:showSerName val="0"/>
              <c:showPercent val="0"/>
              <c:showBubbleSize val="0"/>
              <c:extLst>
                <c:ext xmlns:c16="http://schemas.microsoft.com/office/drawing/2014/chart" uri="{C3380CC4-5D6E-409C-BE32-E72D297353CC}">
                  <c16:uniqueId val="{00000002-48ED-40CD-856D-CD91089CF94A}"/>
                </c:ext>
              </c:extLst>
            </c:dLbl>
            <c:dLbl>
              <c:idx val="2"/>
              <c:spPr>
                <a:noFill/>
                <a:ln>
                  <a:noFill/>
                </a:ln>
                <a:effectLst/>
              </c:spPr>
              <c:txPr>
                <a:bodyPr rot="0" spcFirstLastPara="1" vertOverflow="ellipsis" vert="horz" wrap="square" lIns="38100" tIns="19050" rIns="38100" bIns="19050" anchor="ctr" anchorCtr="1">
                  <a:spAutoFit/>
                </a:bodyPr>
                <a:lstStyle/>
                <a:p>
                  <a:pPr>
                    <a:defRPr sz="1600" b="1" i="0" u="none" strike="noStrike" kern="1200" spc="0" baseline="0">
                      <a:solidFill>
                        <a:schemeClr val="accent3"/>
                      </a:solidFill>
                      <a:latin typeface="+mn-lt"/>
                      <a:ea typeface="+mn-ea"/>
                      <a:cs typeface="+mn-cs"/>
                    </a:defRPr>
                  </a:pPr>
                  <a:endParaRPr lang="en-US"/>
                </a:p>
              </c:txPr>
              <c:dLblPos val="outEnd"/>
              <c:showLegendKey val="0"/>
              <c:showVal val="0"/>
              <c:showCatName val="1"/>
              <c:showSerName val="0"/>
              <c:showPercent val="0"/>
              <c:showBubbleSize val="0"/>
              <c:extLst>
                <c:ext xmlns:c16="http://schemas.microsoft.com/office/drawing/2014/chart" uri="{C3380CC4-5D6E-409C-BE32-E72D297353CC}">
                  <c16:uniqueId val="{00000003-48ED-40CD-856D-CD91089CF94A}"/>
                </c:ext>
              </c:extLst>
            </c:dLbl>
            <c:dLbl>
              <c:idx val="3"/>
              <c:spPr>
                <a:noFill/>
                <a:ln>
                  <a:noFill/>
                </a:ln>
                <a:effectLst/>
              </c:spPr>
              <c:txPr>
                <a:bodyPr rot="0" spcFirstLastPara="1" vertOverflow="ellipsis" vert="horz" wrap="square" lIns="38100" tIns="19050" rIns="38100" bIns="19050" anchor="ctr" anchorCtr="1">
                  <a:spAutoFit/>
                </a:bodyPr>
                <a:lstStyle/>
                <a:p>
                  <a:pPr>
                    <a:defRPr sz="1600" b="1" i="0" u="none" strike="noStrike" kern="1200" spc="0" baseline="0">
                      <a:solidFill>
                        <a:schemeClr val="accent4"/>
                      </a:solidFill>
                      <a:latin typeface="+mn-lt"/>
                      <a:ea typeface="+mn-ea"/>
                      <a:cs typeface="+mn-cs"/>
                    </a:defRPr>
                  </a:pPr>
                  <a:endParaRPr lang="en-US"/>
                </a:p>
              </c:txPr>
              <c:dLblPos val="outEnd"/>
              <c:showLegendKey val="0"/>
              <c:showVal val="0"/>
              <c:showCatName val="1"/>
              <c:showSerName val="0"/>
              <c:showPercent val="0"/>
              <c:showBubbleSize val="0"/>
              <c:extLst>
                <c:ext xmlns:c16="http://schemas.microsoft.com/office/drawing/2014/chart" uri="{C3380CC4-5D6E-409C-BE32-E72D297353CC}">
                  <c16:uniqueId val="{00000004-48ED-40CD-856D-CD91089CF94A}"/>
                </c:ext>
              </c:extLst>
            </c:dLbl>
            <c:dLbl>
              <c:idx val="4"/>
              <c:spPr>
                <a:noFill/>
                <a:ln>
                  <a:noFill/>
                </a:ln>
                <a:effectLst/>
              </c:spPr>
              <c:txPr>
                <a:bodyPr rot="0" spcFirstLastPara="1" vertOverflow="ellipsis" vert="horz" wrap="square" lIns="38100" tIns="19050" rIns="38100" bIns="19050" anchor="ctr" anchorCtr="1">
                  <a:spAutoFit/>
                </a:bodyPr>
                <a:lstStyle/>
                <a:p>
                  <a:pPr>
                    <a:defRPr sz="1600" b="1" i="0" u="none" strike="noStrike" kern="1200" spc="0" baseline="0">
                      <a:solidFill>
                        <a:schemeClr val="accent5"/>
                      </a:solidFill>
                      <a:latin typeface="+mn-lt"/>
                      <a:ea typeface="+mn-ea"/>
                      <a:cs typeface="+mn-cs"/>
                    </a:defRPr>
                  </a:pPr>
                  <a:endParaRPr lang="en-US"/>
                </a:p>
              </c:txPr>
              <c:dLblPos val="outEnd"/>
              <c:showLegendKey val="0"/>
              <c:showVal val="0"/>
              <c:showCatName val="1"/>
              <c:showSerName val="0"/>
              <c:showPercent val="0"/>
              <c:showBubbleSize val="0"/>
              <c:extLst>
                <c:ext xmlns:c16="http://schemas.microsoft.com/office/drawing/2014/chart" uri="{C3380CC4-5D6E-409C-BE32-E72D297353CC}">
                  <c16:uniqueId val="{00000005-48ED-40CD-856D-CD91089CF94A}"/>
                </c:ext>
              </c:extLst>
            </c:dLbl>
            <c:dLbl>
              <c:idx val="5"/>
              <c:spPr>
                <a:noFill/>
                <a:ln>
                  <a:noFill/>
                </a:ln>
                <a:effectLst/>
              </c:spPr>
              <c:txPr>
                <a:bodyPr rot="0" spcFirstLastPara="1" vertOverflow="ellipsis" vert="horz" wrap="square" lIns="38100" tIns="19050" rIns="38100" bIns="19050" anchor="ctr" anchorCtr="1">
                  <a:spAutoFit/>
                </a:bodyPr>
                <a:lstStyle/>
                <a:p>
                  <a:pPr>
                    <a:defRPr sz="1600" b="1" i="0" u="none" strike="noStrike" kern="1200" spc="0" baseline="0">
                      <a:solidFill>
                        <a:schemeClr val="accent6"/>
                      </a:solidFill>
                      <a:latin typeface="+mn-lt"/>
                      <a:ea typeface="+mn-ea"/>
                      <a:cs typeface="+mn-cs"/>
                    </a:defRPr>
                  </a:pPr>
                  <a:endParaRPr lang="en-US"/>
                </a:p>
              </c:txPr>
              <c:dLblPos val="outEnd"/>
              <c:showLegendKey val="0"/>
              <c:showVal val="0"/>
              <c:showCatName val="1"/>
              <c:showSerName val="0"/>
              <c:showPercent val="0"/>
              <c:showBubbleSize val="0"/>
              <c:extLst>
                <c:ext xmlns:c16="http://schemas.microsoft.com/office/drawing/2014/chart" uri="{C3380CC4-5D6E-409C-BE32-E72D297353CC}">
                  <c16:uniqueId val="{00000006-48ED-40CD-856D-CD91089CF94A}"/>
                </c:ext>
              </c:extLst>
            </c:dLbl>
            <c:dLbl>
              <c:idx val="6"/>
              <c:layout>
                <c:manualLayout>
                  <c:x val="-1.5787251585279636E-2"/>
                  <c:y val="2.3405512571260046E-2"/>
                </c:manualLayout>
              </c:layout>
              <c:spPr>
                <a:noFill/>
                <a:ln>
                  <a:noFill/>
                </a:ln>
                <a:effectLst/>
              </c:spPr>
              <c:txPr>
                <a:bodyPr rot="0" spcFirstLastPara="1" vertOverflow="ellipsis" vert="horz" wrap="square" lIns="38100" tIns="19050" rIns="38100" bIns="19050" anchor="ctr" anchorCtr="1">
                  <a:spAutoFit/>
                </a:bodyPr>
                <a:lstStyle/>
                <a:p>
                  <a:pPr>
                    <a:defRPr sz="1600" b="1" i="0" u="none" strike="noStrike" kern="1200" spc="0" baseline="0">
                      <a:solidFill>
                        <a:schemeClr val="accent1">
                          <a:lumMod val="60000"/>
                        </a:schemeClr>
                      </a:solidFill>
                      <a:latin typeface="+mn-lt"/>
                      <a:ea typeface="+mn-ea"/>
                      <a:cs typeface="+mn-cs"/>
                    </a:defRPr>
                  </a:pPr>
                  <a:endParaRPr lang="en-US"/>
                </a:p>
              </c:txPr>
              <c:dLblPos val="bestFi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7-48ED-40CD-856D-CD91089CF94A}"/>
                </c:ext>
              </c:extLst>
            </c:dLbl>
            <c:dLbl>
              <c:idx val="7"/>
              <c:layout>
                <c:manualLayout>
                  <c:x val="-5.8783723919957641E-2"/>
                  <c:y val="1.7372977555969438E-2"/>
                </c:manualLayout>
              </c:layout>
              <c:spPr>
                <a:noFill/>
                <a:ln>
                  <a:noFill/>
                </a:ln>
                <a:effectLst/>
              </c:spPr>
              <c:txPr>
                <a:bodyPr rot="0" spcFirstLastPara="1" vertOverflow="ellipsis" vert="horz" wrap="square" lIns="38100" tIns="19050" rIns="38100" bIns="19050" anchor="ctr" anchorCtr="1">
                  <a:spAutoFit/>
                </a:bodyPr>
                <a:lstStyle/>
                <a:p>
                  <a:pPr>
                    <a:defRPr sz="1600" b="1" i="0" u="none" strike="noStrike" kern="1200" spc="0" baseline="0">
                      <a:solidFill>
                        <a:schemeClr val="accent2">
                          <a:lumMod val="60000"/>
                        </a:schemeClr>
                      </a:solidFill>
                      <a:latin typeface="+mn-lt"/>
                      <a:ea typeface="+mn-ea"/>
                      <a:cs typeface="+mn-cs"/>
                    </a:defRPr>
                  </a:pPr>
                  <a:endParaRPr lang="en-US"/>
                </a:p>
              </c:txPr>
              <c:dLblPos val="bestFi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8-48ED-40CD-856D-CD91089CF94A}"/>
                </c:ext>
              </c:extLst>
            </c:dLbl>
            <c:dLbl>
              <c:idx val="8"/>
              <c:layout>
                <c:manualLayout>
                  <c:x val="-6.5218356787817525E-2"/>
                  <c:y val="-2.7479030785059994E-2"/>
                </c:manualLayout>
              </c:layout>
              <c:spPr>
                <a:noFill/>
                <a:ln>
                  <a:noFill/>
                </a:ln>
                <a:effectLst/>
              </c:spPr>
              <c:txPr>
                <a:bodyPr rot="0" spcFirstLastPara="1" vertOverflow="ellipsis" vert="horz" wrap="square" lIns="38100" tIns="19050" rIns="38100" bIns="19050" anchor="ctr" anchorCtr="1">
                  <a:noAutofit/>
                </a:bodyPr>
                <a:lstStyle/>
                <a:p>
                  <a:pPr>
                    <a:defRPr sz="1600" b="1" i="0" u="none" strike="noStrike" kern="1200" spc="0" baseline="0">
                      <a:solidFill>
                        <a:schemeClr val="accent3">
                          <a:lumMod val="60000"/>
                        </a:schemeClr>
                      </a:solidFill>
                      <a:latin typeface="+mn-lt"/>
                      <a:ea typeface="+mn-ea"/>
                      <a:cs typeface="+mn-cs"/>
                    </a:defRPr>
                  </a:pPr>
                  <a:endParaRPr lang="en-US"/>
                </a:p>
              </c:txPr>
              <c:dLblPos val="bestFit"/>
              <c:showLegendKey val="0"/>
              <c:showVal val="0"/>
              <c:showCatName val="1"/>
              <c:showSerName val="0"/>
              <c:showPercent val="0"/>
              <c:showBubbleSize val="0"/>
              <c:extLst>
                <c:ext xmlns:c15="http://schemas.microsoft.com/office/drawing/2012/chart" uri="{CE6537A1-D6FC-4f65-9D91-7224C49458BB}">
                  <c15:layout>
                    <c:manualLayout>
                      <c:w val="0.23351492251250772"/>
                      <c:h val="5.665778852887448E-2"/>
                    </c:manualLayout>
                  </c15:layout>
                </c:ext>
                <c:ext xmlns:c16="http://schemas.microsoft.com/office/drawing/2014/chart" uri="{C3380CC4-5D6E-409C-BE32-E72D297353CC}">
                  <c16:uniqueId val="{00000009-48ED-40CD-856D-CD91089CF94A}"/>
                </c:ext>
              </c:extLst>
            </c:dLbl>
            <c:dLbl>
              <c:idx val="9"/>
              <c:layout>
                <c:manualLayout>
                  <c:x val="0.11870374572602824"/>
                  <c:y val="-2.5811673199699167E-2"/>
                </c:manualLayout>
              </c:layout>
              <c:spPr>
                <a:noFill/>
                <a:ln>
                  <a:noFill/>
                </a:ln>
                <a:effectLst/>
              </c:spPr>
              <c:txPr>
                <a:bodyPr rot="0" spcFirstLastPara="1" vertOverflow="ellipsis" vert="horz" wrap="square" lIns="38100" tIns="19050" rIns="38100" bIns="19050" anchor="ctr" anchorCtr="1">
                  <a:noAutofit/>
                </a:bodyPr>
                <a:lstStyle/>
                <a:p>
                  <a:pPr>
                    <a:defRPr sz="1600" b="1" i="0" u="none" strike="noStrike" kern="1200" spc="0" baseline="0">
                      <a:solidFill>
                        <a:schemeClr val="accent4">
                          <a:lumMod val="60000"/>
                        </a:schemeClr>
                      </a:solidFill>
                      <a:latin typeface="+mn-lt"/>
                      <a:ea typeface="+mn-ea"/>
                      <a:cs typeface="+mn-cs"/>
                    </a:defRPr>
                  </a:pPr>
                  <a:endParaRPr lang="en-US"/>
                </a:p>
              </c:txPr>
              <c:dLblPos val="bestFit"/>
              <c:showLegendKey val="0"/>
              <c:showVal val="0"/>
              <c:showCatName val="1"/>
              <c:showSerName val="0"/>
              <c:showPercent val="0"/>
              <c:showBubbleSize val="0"/>
              <c:extLst>
                <c:ext xmlns:c15="http://schemas.microsoft.com/office/drawing/2012/chart" uri="{CE6537A1-D6FC-4f65-9D91-7224C49458BB}">
                  <c15:layout>
                    <c:manualLayout>
                      <c:w val="0.24386534751390906"/>
                      <c:h val="5.3564529268008851E-2"/>
                    </c:manualLayout>
                  </c15:layout>
                </c:ext>
                <c:ext xmlns:c16="http://schemas.microsoft.com/office/drawing/2014/chart" uri="{C3380CC4-5D6E-409C-BE32-E72D297353CC}">
                  <c16:uniqueId val="{0000000A-48ED-40CD-856D-CD91089CF94A}"/>
                </c:ext>
              </c:extLst>
            </c:dLbl>
            <c:dLbl>
              <c:idx val="10"/>
              <c:layout>
                <c:manualLayout>
                  <c:x val="0.12568846117992"/>
                  <c:y val="1.8936941051368741E-2"/>
                </c:manualLayout>
              </c:layout>
              <c:spPr>
                <a:noFill/>
                <a:ln>
                  <a:noFill/>
                </a:ln>
                <a:effectLst/>
              </c:spPr>
              <c:txPr>
                <a:bodyPr rot="0" spcFirstLastPara="1" vertOverflow="ellipsis" vert="horz" wrap="square" lIns="38100" tIns="19050" rIns="38100" bIns="19050" anchor="ctr" anchorCtr="1">
                  <a:spAutoFit/>
                </a:bodyPr>
                <a:lstStyle/>
                <a:p>
                  <a:pPr>
                    <a:defRPr sz="1600" b="1" i="0" u="none" strike="noStrike" kern="1200" spc="0" baseline="0">
                      <a:solidFill>
                        <a:schemeClr val="accent5">
                          <a:lumMod val="60000"/>
                        </a:schemeClr>
                      </a:solidFill>
                      <a:latin typeface="+mn-lt"/>
                      <a:ea typeface="+mn-ea"/>
                      <a:cs typeface="+mn-cs"/>
                    </a:defRPr>
                  </a:pPr>
                  <a:endParaRPr lang="en-US"/>
                </a:p>
              </c:txPr>
              <c:dLblPos val="bestFi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B-48ED-40CD-856D-CD91089CF94A}"/>
                </c:ext>
              </c:extLst>
            </c:dLbl>
            <c:spPr>
              <a:noFill/>
              <a:ln>
                <a:noFill/>
              </a:ln>
              <a:effectLst/>
            </c:spPr>
            <c:txPr>
              <a:bodyPr rot="0" spcFirstLastPara="1" vertOverflow="ellipsis" vert="horz" wrap="square" lIns="38100" tIns="19050" rIns="38100" bIns="19050" anchor="ctr" anchorCtr="1">
                <a:spAutoFit/>
              </a:bodyPr>
              <a:lstStyle/>
              <a:p>
                <a:pPr>
                  <a:defRPr sz="1600" b="1" i="0" u="none" strike="noStrike" kern="1200" spc="0" baseline="0">
                    <a:solidFill>
                      <a:schemeClr val="accent1"/>
                    </a:solidFill>
                    <a:latin typeface="+mn-lt"/>
                    <a:ea typeface="+mn-ea"/>
                    <a:cs typeface="+mn-cs"/>
                  </a:defRPr>
                </a:pPr>
                <a:endParaRPr lang="en-US"/>
              </a:p>
            </c:txPr>
            <c:dLblPos val="outEnd"/>
            <c:showLegendKey val="0"/>
            <c:showVal val="0"/>
            <c:showCatName val="1"/>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12</c:f>
              <c:strCache>
                <c:ptCount val="11"/>
                <c:pt idx="0">
                  <c:v>IT systems</c:v>
                </c:pt>
                <c:pt idx="1">
                  <c:v>IVI systems</c:v>
                </c:pt>
                <c:pt idx="2">
                  <c:v>ADAS</c:v>
                </c:pt>
                <c:pt idx="3">
                  <c:v>EV charging</c:v>
                </c:pt>
                <c:pt idx="4">
                  <c:v>BMS</c:v>
                </c:pt>
                <c:pt idx="5">
                  <c:v>ECU</c:v>
                </c:pt>
                <c:pt idx="6">
                  <c:v>Keyless entry</c:v>
                </c:pt>
                <c:pt idx="7">
                  <c:v>Diagnostics</c:v>
                </c:pt>
                <c:pt idx="8">
                  <c:v>Fleet management</c:v>
                </c:pt>
                <c:pt idx="9">
                  <c:v>Mobile/Vehicle apps</c:v>
                </c:pt>
                <c:pt idx="10">
                  <c:v>Other</c:v>
                </c:pt>
              </c:strCache>
            </c:strRef>
          </c:cat>
          <c:val>
            <c:numRef>
              <c:f>Sheet1!$B$2:$B$12</c:f>
              <c:numCache>
                <c:formatCode>General</c:formatCode>
                <c:ptCount val="11"/>
                <c:pt idx="0">
                  <c:v>28.7</c:v>
                </c:pt>
                <c:pt idx="1">
                  <c:v>16.7</c:v>
                </c:pt>
                <c:pt idx="2">
                  <c:v>14.45</c:v>
                </c:pt>
                <c:pt idx="3">
                  <c:v>12.55</c:v>
                </c:pt>
                <c:pt idx="4">
                  <c:v>7.8000000000000007</c:v>
                </c:pt>
                <c:pt idx="5">
                  <c:v>7.35</c:v>
                </c:pt>
                <c:pt idx="6">
                  <c:v>5.6</c:v>
                </c:pt>
                <c:pt idx="7">
                  <c:v>2.75</c:v>
                </c:pt>
                <c:pt idx="8">
                  <c:v>1.4</c:v>
                </c:pt>
                <c:pt idx="9">
                  <c:v>1.35</c:v>
                </c:pt>
                <c:pt idx="10">
                  <c:v>1.35</c:v>
                </c:pt>
              </c:numCache>
            </c:numRef>
          </c:val>
          <c:extLst>
            <c:ext xmlns:c16="http://schemas.microsoft.com/office/drawing/2014/chart" uri="{C3380CC4-5D6E-409C-BE32-E72D297353CC}">
              <c16:uniqueId val="{00000000-48ED-40CD-856D-CD91089CF94A}"/>
            </c:ext>
          </c:extLst>
        </c:ser>
        <c:dLbls>
          <c:dLblPos val="outEnd"/>
          <c:showLegendKey val="0"/>
          <c:showVal val="0"/>
          <c:showCatName val="1"/>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Vulnerabilities</c:v>
                </c:pt>
              </c:strCache>
            </c:strRef>
          </c:tx>
          <c:spPr>
            <a:ln w="28575" cap="rnd">
              <a:solidFill>
                <a:schemeClr val="accent1"/>
              </a:solidFill>
              <a:round/>
            </a:ln>
            <a:effectLst/>
          </c:spPr>
          <c:marker>
            <c:symbol val="none"/>
          </c:marker>
          <c:dLbls>
            <c:delete val="1"/>
          </c:dLbls>
          <c:cat>
            <c:numRef>
              <c:f>Sheet1!$A$2:$A$13</c:f>
              <c:numCache>
                <c:formatCode>General</c:formatCode>
                <c:ptCount val="12"/>
                <c:pt idx="0">
                  <c:v>2014</c:v>
                </c:pt>
                <c:pt idx="1">
                  <c:v>2015</c:v>
                </c:pt>
                <c:pt idx="2">
                  <c:v>2016</c:v>
                </c:pt>
                <c:pt idx="3">
                  <c:v>2017</c:v>
                </c:pt>
                <c:pt idx="4">
                  <c:v>2018</c:v>
                </c:pt>
                <c:pt idx="5">
                  <c:v>2019</c:v>
                </c:pt>
                <c:pt idx="6">
                  <c:v>2020</c:v>
                </c:pt>
                <c:pt idx="7">
                  <c:v>2021</c:v>
                </c:pt>
                <c:pt idx="8">
                  <c:v>2022</c:v>
                </c:pt>
                <c:pt idx="9">
                  <c:v>2023</c:v>
                </c:pt>
                <c:pt idx="10">
                  <c:v>2024</c:v>
                </c:pt>
                <c:pt idx="11">
                  <c:v>2025</c:v>
                </c:pt>
              </c:numCache>
            </c:numRef>
          </c:cat>
          <c:val>
            <c:numRef>
              <c:f>Sheet1!$B$2:$B$13</c:f>
              <c:numCache>
                <c:formatCode>General</c:formatCode>
                <c:ptCount val="12"/>
                <c:pt idx="0">
                  <c:v>6</c:v>
                </c:pt>
                <c:pt idx="1">
                  <c:v>5</c:v>
                </c:pt>
                <c:pt idx="2">
                  <c:v>2</c:v>
                </c:pt>
                <c:pt idx="3">
                  <c:v>15</c:v>
                </c:pt>
                <c:pt idx="4">
                  <c:v>36</c:v>
                </c:pt>
                <c:pt idx="5">
                  <c:v>266</c:v>
                </c:pt>
                <c:pt idx="6">
                  <c:v>340</c:v>
                </c:pt>
                <c:pt idx="7">
                  <c:v>290</c:v>
                </c:pt>
                <c:pt idx="8">
                  <c:v>355</c:v>
                </c:pt>
                <c:pt idx="9">
                  <c:v>426</c:v>
                </c:pt>
                <c:pt idx="10">
                  <c:v>530</c:v>
                </c:pt>
              </c:numCache>
            </c:numRef>
          </c:val>
          <c:smooth val="0"/>
          <c:extLst>
            <c:ext xmlns:c16="http://schemas.microsoft.com/office/drawing/2014/chart" uri="{C3380CC4-5D6E-409C-BE32-E72D297353CC}">
              <c16:uniqueId val="{00000000-A41C-4BA1-860F-2C845B78103F}"/>
            </c:ext>
          </c:extLst>
        </c:ser>
        <c:dLbls>
          <c:showLegendKey val="0"/>
          <c:showVal val="0"/>
          <c:showCatName val="1"/>
          <c:showSerName val="0"/>
          <c:showPercent val="0"/>
          <c:showBubbleSize val="0"/>
        </c:dLbls>
        <c:smooth val="0"/>
        <c:axId val="227627600"/>
        <c:axId val="227632880"/>
      </c:lineChart>
      <c:catAx>
        <c:axId val="227627600"/>
        <c:scaling>
          <c:orientation val="minMax"/>
        </c:scaling>
        <c:delete val="0"/>
        <c:axPos val="b"/>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227632880"/>
        <c:crosses val="autoZero"/>
        <c:auto val="1"/>
        <c:lblAlgn val="ctr"/>
        <c:lblOffset val="100"/>
        <c:noMultiLvlLbl val="0"/>
      </c:catAx>
      <c:valAx>
        <c:axId val="22763288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22762760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C1278E0-518F-4769-B7C8-A287E7695598}"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en-US"/>
        </a:p>
      </dgm:t>
    </dgm:pt>
    <dgm:pt modelId="{2BD9EDD3-5A1B-4590-ADAD-809AD74A12EC}">
      <dgm:prSet phldrT="[Text]"/>
      <dgm:spPr/>
      <dgm:t>
        <a:bodyPr/>
        <a:lstStyle/>
        <a:p>
          <a:pPr>
            <a:buClrTx/>
            <a:buSzTx/>
            <a:buFont typeface="Arial" panose="020B0604020202020204" pitchFamily="34" charset="0"/>
            <a:buNone/>
          </a:pPr>
          <a:r>
            <a:rPr lang="de-DE" b="0" i="0" u="none" dirty="0" err="1">
              <a:solidFill>
                <a:schemeClr val="tx1"/>
              </a:solidFill>
              <a:latin typeface="Arial" panose="020B0604020202020204" pitchFamily="34" charset="0"/>
            </a:rPr>
            <a:t>Cybersecurity</a:t>
          </a:r>
          <a:r>
            <a:rPr lang="de-DE" b="0" i="0" u="none" dirty="0">
              <a:solidFill>
                <a:schemeClr val="tx1"/>
              </a:solidFill>
              <a:latin typeface="Arial" panose="020B0604020202020204" pitchFamily="34" charset="0"/>
            </a:rPr>
            <a:t> </a:t>
          </a:r>
          <a:r>
            <a:rPr lang="de-DE" b="0" i="0" u="none" dirty="0" err="1">
              <a:solidFill>
                <a:schemeClr val="tx1"/>
              </a:solidFill>
              <a:latin typeface="Arial" panose="020B0604020202020204" pitchFamily="34" charset="0"/>
            </a:rPr>
            <a:t>Threats</a:t>
          </a:r>
          <a:r>
            <a:rPr lang="de-DE" b="0" i="0" u="none" dirty="0">
              <a:solidFill>
                <a:schemeClr val="tx1"/>
              </a:solidFill>
              <a:latin typeface="Arial" panose="020B0604020202020204" pitchFamily="34" charset="0"/>
            </a:rPr>
            <a:t> and </a:t>
          </a:r>
          <a:r>
            <a:rPr lang="de-DE" b="0" i="0" u="none" dirty="0" err="1">
              <a:solidFill>
                <a:schemeClr val="tx1"/>
              </a:solidFill>
              <a:latin typeface="Arial" panose="020B0604020202020204" pitchFamily="34" charset="0"/>
            </a:rPr>
            <a:t>Risks</a:t>
          </a:r>
          <a:r>
            <a:rPr lang="de-DE" b="0" i="0" u="none" dirty="0">
              <a:solidFill>
                <a:schemeClr val="tx1"/>
              </a:solidFill>
              <a:latin typeface="Arial" panose="020B0604020202020204" pitchFamily="34" charset="0"/>
            </a:rPr>
            <a:t> </a:t>
          </a:r>
          <a:r>
            <a:rPr lang="de-DE" b="0" i="0" u="none" dirty="0" err="1">
              <a:solidFill>
                <a:schemeClr val="tx1"/>
              </a:solidFill>
              <a:latin typeface="Arial" panose="020B0604020202020204" pitchFamily="34" charset="0"/>
            </a:rPr>
            <a:t>for</a:t>
          </a:r>
          <a:r>
            <a:rPr lang="de-DE" b="0" i="0" u="none" dirty="0">
              <a:solidFill>
                <a:schemeClr val="tx1"/>
              </a:solidFill>
              <a:latin typeface="Arial" panose="020B0604020202020204" pitchFamily="34" charset="0"/>
            </a:rPr>
            <a:t> SDVs</a:t>
          </a:r>
          <a:endParaRPr lang="en-US" dirty="0">
            <a:solidFill>
              <a:schemeClr val="tx1"/>
            </a:solidFill>
          </a:endParaRPr>
        </a:p>
      </dgm:t>
    </dgm:pt>
    <dgm:pt modelId="{2CB77CF7-EE66-4804-959C-AD0F70CCEF1A}" type="parTrans" cxnId="{A6A8255E-D390-4D9C-B836-25F225A0FEC6}">
      <dgm:prSet/>
      <dgm:spPr/>
      <dgm:t>
        <a:bodyPr/>
        <a:lstStyle/>
        <a:p>
          <a:endParaRPr lang="en-US"/>
        </a:p>
      </dgm:t>
    </dgm:pt>
    <dgm:pt modelId="{B16D06B8-EF0E-4975-A917-B979DF65E536}" type="sibTrans" cxnId="{A6A8255E-D390-4D9C-B836-25F225A0FEC6}">
      <dgm:prSet/>
      <dgm:spPr/>
      <dgm:t>
        <a:bodyPr/>
        <a:lstStyle/>
        <a:p>
          <a:endParaRPr lang="en-US"/>
        </a:p>
      </dgm:t>
    </dgm:pt>
    <dgm:pt modelId="{93101A50-6F76-4179-825F-60C5E38597E6}">
      <dgm:prSet phldrT="[Text]"/>
      <dgm:spPr/>
      <dgm:t>
        <a:bodyPr/>
        <a:lstStyle/>
        <a:p>
          <a:pPr>
            <a:buClrTx/>
            <a:buSzTx/>
            <a:buFont typeface="Arial" panose="020B0604020202020204" pitchFamily="34" charset="0"/>
            <a:buNone/>
          </a:pPr>
          <a:r>
            <a:rPr lang="en-US" dirty="0">
              <a:solidFill>
                <a:schemeClr val="tx1"/>
              </a:solidFill>
            </a:rPr>
            <a:t>International Regulatory Developments</a:t>
          </a:r>
        </a:p>
      </dgm:t>
    </dgm:pt>
    <dgm:pt modelId="{59A65BAA-140D-49DF-BDDE-2FB0BE7D644E}" type="parTrans" cxnId="{5EF12CC5-EF02-4465-B8EB-8133821233C0}">
      <dgm:prSet/>
      <dgm:spPr/>
      <dgm:t>
        <a:bodyPr/>
        <a:lstStyle/>
        <a:p>
          <a:endParaRPr lang="en-US"/>
        </a:p>
      </dgm:t>
    </dgm:pt>
    <dgm:pt modelId="{4A7A9B38-240E-4DBD-92EB-4761639CD764}" type="sibTrans" cxnId="{5EF12CC5-EF02-4465-B8EB-8133821233C0}">
      <dgm:prSet/>
      <dgm:spPr/>
      <dgm:t>
        <a:bodyPr/>
        <a:lstStyle/>
        <a:p>
          <a:endParaRPr lang="en-US"/>
        </a:p>
      </dgm:t>
    </dgm:pt>
    <dgm:pt modelId="{F0CC0F94-C265-4F27-98EC-38A46BCB4310}">
      <dgm:prSet phldrT="[Text]"/>
      <dgm:spPr/>
      <dgm:t>
        <a:bodyPr/>
        <a:lstStyle/>
        <a:p>
          <a:r>
            <a:rPr lang="de-DE" b="0" i="0" u="none" dirty="0">
              <a:solidFill>
                <a:schemeClr val="tx1"/>
              </a:solidFill>
            </a:rPr>
            <a:t>PQC (Post-Quantum </a:t>
          </a:r>
          <a:r>
            <a:rPr lang="de-DE" b="0" i="0" u="none" dirty="0" err="1">
              <a:solidFill>
                <a:schemeClr val="tx1"/>
              </a:solidFill>
            </a:rPr>
            <a:t>Cryptography</a:t>
          </a:r>
          <a:r>
            <a:rPr lang="de-DE" b="0" i="0" u="none" dirty="0">
              <a:solidFill>
                <a:schemeClr val="tx1"/>
              </a:solidFill>
            </a:rPr>
            <a:t>)</a:t>
          </a:r>
          <a:endParaRPr lang="en-US" dirty="0">
            <a:solidFill>
              <a:schemeClr val="tx1"/>
            </a:solidFill>
          </a:endParaRPr>
        </a:p>
      </dgm:t>
    </dgm:pt>
    <dgm:pt modelId="{711DE623-8F36-40D8-A03B-E410A3905A3A}" type="parTrans" cxnId="{E6464BEE-BBEB-4804-BD33-66FF43811AB5}">
      <dgm:prSet/>
      <dgm:spPr/>
      <dgm:t>
        <a:bodyPr/>
        <a:lstStyle/>
        <a:p>
          <a:endParaRPr lang="en-US"/>
        </a:p>
      </dgm:t>
    </dgm:pt>
    <dgm:pt modelId="{5B4D1625-F753-425D-BFFD-ADB0118C4F05}" type="sibTrans" cxnId="{E6464BEE-BBEB-4804-BD33-66FF43811AB5}">
      <dgm:prSet/>
      <dgm:spPr/>
      <dgm:t>
        <a:bodyPr/>
        <a:lstStyle/>
        <a:p>
          <a:endParaRPr lang="en-US"/>
        </a:p>
      </dgm:t>
    </dgm:pt>
    <dgm:pt modelId="{B268C4B4-C122-4D0F-B69C-BB8745E3A3DD}" type="pres">
      <dgm:prSet presAssocID="{4C1278E0-518F-4769-B7C8-A287E7695598}" presName="Name0" presStyleCnt="0">
        <dgm:presLayoutVars>
          <dgm:chMax val="7"/>
          <dgm:chPref val="7"/>
          <dgm:dir/>
        </dgm:presLayoutVars>
      </dgm:prSet>
      <dgm:spPr/>
    </dgm:pt>
    <dgm:pt modelId="{AF3BE7C3-2985-4415-9D0B-2F65AF079E16}" type="pres">
      <dgm:prSet presAssocID="{4C1278E0-518F-4769-B7C8-A287E7695598}" presName="Name1" presStyleCnt="0"/>
      <dgm:spPr/>
    </dgm:pt>
    <dgm:pt modelId="{B8E1FF46-CB5B-48BB-B0D3-66A611B189BB}" type="pres">
      <dgm:prSet presAssocID="{4C1278E0-518F-4769-B7C8-A287E7695598}" presName="cycle" presStyleCnt="0"/>
      <dgm:spPr/>
    </dgm:pt>
    <dgm:pt modelId="{0C895D8E-38E2-4A7E-AC09-03C9782BA739}" type="pres">
      <dgm:prSet presAssocID="{4C1278E0-518F-4769-B7C8-A287E7695598}" presName="srcNode" presStyleLbl="node1" presStyleIdx="0" presStyleCnt="3"/>
      <dgm:spPr/>
    </dgm:pt>
    <dgm:pt modelId="{B174ABE9-A050-4132-B764-2DB3DD441ED1}" type="pres">
      <dgm:prSet presAssocID="{4C1278E0-518F-4769-B7C8-A287E7695598}" presName="conn" presStyleLbl="parChTrans1D2" presStyleIdx="0" presStyleCnt="1"/>
      <dgm:spPr/>
    </dgm:pt>
    <dgm:pt modelId="{5DE1571F-130B-49E5-B821-F3793FDD4973}" type="pres">
      <dgm:prSet presAssocID="{4C1278E0-518F-4769-B7C8-A287E7695598}" presName="extraNode" presStyleLbl="node1" presStyleIdx="0" presStyleCnt="3"/>
      <dgm:spPr/>
    </dgm:pt>
    <dgm:pt modelId="{211AEB76-CDD2-4918-97A2-8472F9DDE20F}" type="pres">
      <dgm:prSet presAssocID="{4C1278E0-518F-4769-B7C8-A287E7695598}" presName="dstNode" presStyleLbl="node1" presStyleIdx="0" presStyleCnt="3"/>
      <dgm:spPr/>
    </dgm:pt>
    <dgm:pt modelId="{7F8EF875-57B6-4E4C-8A10-BE7EFCBC0BB1}" type="pres">
      <dgm:prSet presAssocID="{2BD9EDD3-5A1B-4590-ADAD-809AD74A12EC}" presName="text_1" presStyleLbl="node1" presStyleIdx="0" presStyleCnt="3">
        <dgm:presLayoutVars>
          <dgm:bulletEnabled val="1"/>
        </dgm:presLayoutVars>
      </dgm:prSet>
      <dgm:spPr/>
    </dgm:pt>
    <dgm:pt modelId="{81004FDC-1A1C-4B3D-A460-48B6D4845BB2}" type="pres">
      <dgm:prSet presAssocID="{2BD9EDD3-5A1B-4590-ADAD-809AD74A12EC}" presName="accent_1" presStyleCnt="0"/>
      <dgm:spPr/>
    </dgm:pt>
    <dgm:pt modelId="{45136930-ACDF-4779-AE31-B5F03FB4B4B6}" type="pres">
      <dgm:prSet presAssocID="{2BD9EDD3-5A1B-4590-ADAD-809AD74A12EC}" presName="accentRepeatNode" presStyleLbl="solidFgAcc1" presStyleIdx="0" presStyleCnt="3"/>
      <dgm:spPr/>
    </dgm:pt>
    <dgm:pt modelId="{DC0C79C8-7B68-44F8-B7EB-69A481F56589}" type="pres">
      <dgm:prSet presAssocID="{93101A50-6F76-4179-825F-60C5E38597E6}" presName="text_2" presStyleLbl="node1" presStyleIdx="1" presStyleCnt="3">
        <dgm:presLayoutVars>
          <dgm:bulletEnabled val="1"/>
        </dgm:presLayoutVars>
      </dgm:prSet>
      <dgm:spPr/>
    </dgm:pt>
    <dgm:pt modelId="{68BB1330-F934-4633-B3DE-DD58854033CF}" type="pres">
      <dgm:prSet presAssocID="{93101A50-6F76-4179-825F-60C5E38597E6}" presName="accent_2" presStyleCnt="0"/>
      <dgm:spPr/>
    </dgm:pt>
    <dgm:pt modelId="{D8D3E725-9B4B-48E5-99C8-667D022BB3CA}" type="pres">
      <dgm:prSet presAssocID="{93101A50-6F76-4179-825F-60C5E38597E6}" presName="accentRepeatNode" presStyleLbl="solidFgAcc1" presStyleIdx="1" presStyleCnt="3"/>
      <dgm:spPr/>
    </dgm:pt>
    <dgm:pt modelId="{E21CBD4C-C2A2-4BD1-A543-F2B7DF284220}" type="pres">
      <dgm:prSet presAssocID="{F0CC0F94-C265-4F27-98EC-38A46BCB4310}" presName="text_3" presStyleLbl="node1" presStyleIdx="2" presStyleCnt="3">
        <dgm:presLayoutVars>
          <dgm:bulletEnabled val="1"/>
        </dgm:presLayoutVars>
      </dgm:prSet>
      <dgm:spPr/>
    </dgm:pt>
    <dgm:pt modelId="{3DAF5FB5-C8DC-40D8-9182-7C42AAECB3A7}" type="pres">
      <dgm:prSet presAssocID="{F0CC0F94-C265-4F27-98EC-38A46BCB4310}" presName="accent_3" presStyleCnt="0"/>
      <dgm:spPr/>
    </dgm:pt>
    <dgm:pt modelId="{5A511229-F29A-4B4B-994A-F1410CE29813}" type="pres">
      <dgm:prSet presAssocID="{F0CC0F94-C265-4F27-98EC-38A46BCB4310}" presName="accentRepeatNode" presStyleLbl="solidFgAcc1" presStyleIdx="2" presStyleCnt="3"/>
      <dgm:spPr/>
    </dgm:pt>
  </dgm:ptLst>
  <dgm:cxnLst>
    <dgm:cxn modelId="{29A32B12-04F7-47DB-868C-EB0ACFA6A908}" type="presOf" srcId="{2BD9EDD3-5A1B-4590-ADAD-809AD74A12EC}" destId="{7F8EF875-57B6-4E4C-8A10-BE7EFCBC0BB1}" srcOrd="0" destOrd="0" presId="urn:microsoft.com/office/officeart/2008/layout/VerticalCurvedList"/>
    <dgm:cxn modelId="{98E0EF2B-D50F-4A86-BADF-B946BEE8B359}" type="presOf" srcId="{F0CC0F94-C265-4F27-98EC-38A46BCB4310}" destId="{E21CBD4C-C2A2-4BD1-A543-F2B7DF284220}" srcOrd="0" destOrd="0" presId="urn:microsoft.com/office/officeart/2008/layout/VerticalCurvedList"/>
    <dgm:cxn modelId="{A6A8255E-D390-4D9C-B836-25F225A0FEC6}" srcId="{4C1278E0-518F-4769-B7C8-A287E7695598}" destId="{2BD9EDD3-5A1B-4590-ADAD-809AD74A12EC}" srcOrd="0" destOrd="0" parTransId="{2CB77CF7-EE66-4804-959C-AD0F70CCEF1A}" sibTransId="{B16D06B8-EF0E-4975-A917-B979DF65E536}"/>
    <dgm:cxn modelId="{31594F6F-1788-4BAB-A249-9523955840D9}" type="presOf" srcId="{4C1278E0-518F-4769-B7C8-A287E7695598}" destId="{B268C4B4-C122-4D0F-B69C-BB8745E3A3DD}" srcOrd="0" destOrd="0" presId="urn:microsoft.com/office/officeart/2008/layout/VerticalCurvedList"/>
    <dgm:cxn modelId="{5E44CEB4-A4D6-4BFA-8303-12DEBA24D64F}" type="presOf" srcId="{B16D06B8-EF0E-4975-A917-B979DF65E536}" destId="{B174ABE9-A050-4132-B764-2DB3DD441ED1}" srcOrd="0" destOrd="0" presId="urn:microsoft.com/office/officeart/2008/layout/VerticalCurvedList"/>
    <dgm:cxn modelId="{5EF12CC5-EF02-4465-B8EB-8133821233C0}" srcId="{4C1278E0-518F-4769-B7C8-A287E7695598}" destId="{93101A50-6F76-4179-825F-60C5E38597E6}" srcOrd="1" destOrd="0" parTransId="{59A65BAA-140D-49DF-BDDE-2FB0BE7D644E}" sibTransId="{4A7A9B38-240E-4DBD-92EB-4761639CD764}"/>
    <dgm:cxn modelId="{A9C377E9-CB21-4F53-AE12-5BF0A1F93D3D}" type="presOf" srcId="{93101A50-6F76-4179-825F-60C5E38597E6}" destId="{DC0C79C8-7B68-44F8-B7EB-69A481F56589}" srcOrd="0" destOrd="0" presId="urn:microsoft.com/office/officeart/2008/layout/VerticalCurvedList"/>
    <dgm:cxn modelId="{E6464BEE-BBEB-4804-BD33-66FF43811AB5}" srcId="{4C1278E0-518F-4769-B7C8-A287E7695598}" destId="{F0CC0F94-C265-4F27-98EC-38A46BCB4310}" srcOrd="2" destOrd="0" parTransId="{711DE623-8F36-40D8-A03B-E410A3905A3A}" sibTransId="{5B4D1625-F753-425D-BFFD-ADB0118C4F05}"/>
    <dgm:cxn modelId="{D5E4D3FF-8BA4-4CFB-80FA-567BAFFFE4FC}" type="presParOf" srcId="{B268C4B4-C122-4D0F-B69C-BB8745E3A3DD}" destId="{AF3BE7C3-2985-4415-9D0B-2F65AF079E16}" srcOrd="0" destOrd="0" presId="urn:microsoft.com/office/officeart/2008/layout/VerticalCurvedList"/>
    <dgm:cxn modelId="{205C789C-0234-453D-AF7E-AF01CF95E2E5}" type="presParOf" srcId="{AF3BE7C3-2985-4415-9D0B-2F65AF079E16}" destId="{B8E1FF46-CB5B-48BB-B0D3-66A611B189BB}" srcOrd="0" destOrd="0" presId="urn:microsoft.com/office/officeart/2008/layout/VerticalCurvedList"/>
    <dgm:cxn modelId="{B6AEA63C-22F4-41E4-A844-7A94464FCF89}" type="presParOf" srcId="{B8E1FF46-CB5B-48BB-B0D3-66A611B189BB}" destId="{0C895D8E-38E2-4A7E-AC09-03C9782BA739}" srcOrd="0" destOrd="0" presId="urn:microsoft.com/office/officeart/2008/layout/VerticalCurvedList"/>
    <dgm:cxn modelId="{528F882B-796A-4E7A-BAD2-C3C0039EDE8B}" type="presParOf" srcId="{B8E1FF46-CB5B-48BB-B0D3-66A611B189BB}" destId="{B174ABE9-A050-4132-B764-2DB3DD441ED1}" srcOrd="1" destOrd="0" presId="urn:microsoft.com/office/officeart/2008/layout/VerticalCurvedList"/>
    <dgm:cxn modelId="{2EF4A755-CFE2-4B4A-82A0-20CBC784B42D}" type="presParOf" srcId="{B8E1FF46-CB5B-48BB-B0D3-66A611B189BB}" destId="{5DE1571F-130B-49E5-B821-F3793FDD4973}" srcOrd="2" destOrd="0" presId="urn:microsoft.com/office/officeart/2008/layout/VerticalCurvedList"/>
    <dgm:cxn modelId="{2434673C-716C-4F96-9F5E-1658B64FC95E}" type="presParOf" srcId="{B8E1FF46-CB5B-48BB-B0D3-66A611B189BB}" destId="{211AEB76-CDD2-4918-97A2-8472F9DDE20F}" srcOrd="3" destOrd="0" presId="urn:microsoft.com/office/officeart/2008/layout/VerticalCurvedList"/>
    <dgm:cxn modelId="{71F13DBA-5831-4F9C-8C85-B035FE4AABE7}" type="presParOf" srcId="{AF3BE7C3-2985-4415-9D0B-2F65AF079E16}" destId="{7F8EF875-57B6-4E4C-8A10-BE7EFCBC0BB1}" srcOrd="1" destOrd="0" presId="urn:microsoft.com/office/officeart/2008/layout/VerticalCurvedList"/>
    <dgm:cxn modelId="{33E8F5C2-92CA-4178-96C6-A6C0C0793804}" type="presParOf" srcId="{AF3BE7C3-2985-4415-9D0B-2F65AF079E16}" destId="{81004FDC-1A1C-4B3D-A460-48B6D4845BB2}" srcOrd="2" destOrd="0" presId="urn:microsoft.com/office/officeart/2008/layout/VerticalCurvedList"/>
    <dgm:cxn modelId="{71A933D5-46B9-4830-BD5D-7809E28E4DF4}" type="presParOf" srcId="{81004FDC-1A1C-4B3D-A460-48B6D4845BB2}" destId="{45136930-ACDF-4779-AE31-B5F03FB4B4B6}" srcOrd="0" destOrd="0" presId="urn:microsoft.com/office/officeart/2008/layout/VerticalCurvedList"/>
    <dgm:cxn modelId="{44846E39-CE21-4239-A143-5406EA08AEBE}" type="presParOf" srcId="{AF3BE7C3-2985-4415-9D0B-2F65AF079E16}" destId="{DC0C79C8-7B68-44F8-B7EB-69A481F56589}" srcOrd="3" destOrd="0" presId="urn:microsoft.com/office/officeart/2008/layout/VerticalCurvedList"/>
    <dgm:cxn modelId="{68CE241C-6408-4B98-B04F-1F0B71B705CA}" type="presParOf" srcId="{AF3BE7C3-2985-4415-9D0B-2F65AF079E16}" destId="{68BB1330-F934-4633-B3DE-DD58854033CF}" srcOrd="4" destOrd="0" presId="urn:microsoft.com/office/officeart/2008/layout/VerticalCurvedList"/>
    <dgm:cxn modelId="{6B3E3956-0831-4A0B-9DEE-C41B7D4EB447}" type="presParOf" srcId="{68BB1330-F934-4633-B3DE-DD58854033CF}" destId="{D8D3E725-9B4B-48E5-99C8-667D022BB3CA}" srcOrd="0" destOrd="0" presId="urn:microsoft.com/office/officeart/2008/layout/VerticalCurvedList"/>
    <dgm:cxn modelId="{72E846F3-97F4-42F0-A840-9D2E62A38EE8}" type="presParOf" srcId="{AF3BE7C3-2985-4415-9D0B-2F65AF079E16}" destId="{E21CBD4C-C2A2-4BD1-A543-F2B7DF284220}" srcOrd="5" destOrd="0" presId="urn:microsoft.com/office/officeart/2008/layout/VerticalCurvedList"/>
    <dgm:cxn modelId="{82FED57B-1B59-4263-AAE8-985FA4104BD6}" type="presParOf" srcId="{AF3BE7C3-2985-4415-9D0B-2F65AF079E16}" destId="{3DAF5FB5-C8DC-40D8-9182-7C42AAECB3A7}" srcOrd="6" destOrd="0" presId="urn:microsoft.com/office/officeart/2008/layout/VerticalCurvedList"/>
    <dgm:cxn modelId="{DA421B71-B101-4629-BF40-071362FDEF81}" type="presParOf" srcId="{3DAF5FB5-C8DC-40D8-9182-7C42AAECB3A7}" destId="{5A511229-F29A-4B4B-994A-F1410CE29813}"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C1278E0-518F-4769-B7C8-A287E7695598}"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en-US"/>
        </a:p>
      </dgm:t>
    </dgm:pt>
    <dgm:pt modelId="{2BD9EDD3-5A1B-4590-ADAD-809AD74A12EC}">
      <dgm:prSet phldrT="[Text]"/>
      <dgm:spPr/>
      <dgm:t>
        <a:bodyPr/>
        <a:lstStyle/>
        <a:p>
          <a:pPr>
            <a:buClrTx/>
            <a:buSzTx/>
            <a:buFont typeface="Arial" panose="020B0604020202020204" pitchFamily="34" charset="0"/>
            <a:buNone/>
          </a:pPr>
          <a:r>
            <a:rPr lang="de-DE" b="0" i="0" u="none" dirty="0" err="1">
              <a:solidFill>
                <a:schemeClr val="tx1"/>
              </a:solidFill>
              <a:latin typeface="Arial" panose="020B0604020202020204" pitchFamily="34" charset="0"/>
            </a:rPr>
            <a:t>Cybersecurity</a:t>
          </a:r>
          <a:r>
            <a:rPr lang="de-DE" b="0" i="0" u="none" dirty="0">
              <a:solidFill>
                <a:schemeClr val="tx1"/>
              </a:solidFill>
              <a:latin typeface="Arial" panose="020B0604020202020204" pitchFamily="34" charset="0"/>
            </a:rPr>
            <a:t> </a:t>
          </a:r>
          <a:r>
            <a:rPr lang="de-DE" b="0" i="0" u="none" dirty="0" err="1">
              <a:solidFill>
                <a:schemeClr val="tx1"/>
              </a:solidFill>
              <a:latin typeface="Arial" panose="020B0604020202020204" pitchFamily="34" charset="0"/>
            </a:rPr>
            <a:t>Threats</a:t>
          </a:r>
          <a:r>
            <a:rPr lang="de-DE" b="0" i="0" u="none" dirty="0">
              <a:solidFill>
                <a:schemeClr val="tx1"/>
              </a:solidFill>
              <a:latin typeface="Arial" panose="020B0604020202020204" pitchFamily="34" charset="0"/>
            </a:rPr>
            <a:t> and </a:t>
          </a:r>
          <a:r>
            <a:rPr lang="de-DE" b="0" i="0" u="none" dirty="0" err="1">
              <a:solidFill>
                <a:schemeClr val="tx1"/>
              </a:solidFill>
              <a:latin typeface="Arial" panose="020B0604020202020204" pitchFamily="34" charset="0"/>
            </a:rPr>
            <a:t>Risks</a:t>
          </a:r>
          <a:r>
            <a:rPr lang="de-DE" b="0" i="0" u="none" dirty="0">
              <a:solidFill>
                <a:schemeClr val="tx1"/>
              </a:solidFill>
              <a:latin typeface="Arial" panose="020B0604020202020204" pitchFamily="34" charset="0"/>
            </a:rPr>
            <a:t> </a:t>
          </a:r>
          <a:r>
            <a:rPr lang="de-DE" b="0" i="0" u="none" dirty="0" err="1">
              <a:solidFill>
                <a:schemeClr val="tx1"/>
              </a:solidFill>
              <a:latin typeface="Arial" panose="020B0604020202020204" pitchFamily="34" charset="0"/>
            </a:rPr>
            <a:t>for</a:t>
          </a:r>
          <a:r>
            <a:rPr lang="de-DE" b="0" i="0" u="none" dirty="0">
              <a:solidFill>
                <a:schemeClr val="tx1"/>
              </a:solidFill>
              <a:latin typeface="Arial" panose="020B0604020202020204" pitchFamily="34" charset="0"/>
            </a:rPr>
            <a:t> SDVs</a:t>
          </a:r>
          <a:endParaRPr lang="en-US" dirty="0">
            <a:solidFill>
              <a:schemeClr val="tx1"/>
            </a:solidFill>
          </a:endParaRPr>
        </a:p>
      </dgm:t>
    </dgm:pt>
    <dgm:pt modelId="{2CB77CF7-EE66-4804-959C-AD0F70CCEF1A}" type="parTrans" cxnId="{A6A8255E-D390-4D9C-B836-25F225A0FEC6}">
      <dgm:prSet/>
      <dgm:spPr/>
      <dgm:t>
        <a:bodyPr/>
        <a:lstStyle/>
        <a:p>
          <a:endParaRPr lang="en-US"/>
        </a:p>
      </dgm:t>
    </dgm:pt>
    <dgm:pt modelId="{B16D06B8-EF0E-4975-A917-B979DF65E536}" type="sibTrans" cxnId="{A6A8255E-D390-4D9C-B836-25F225A0FEC6}">
      <dgm:prSet/>
      <dgm:spPr/>
      <dgm:t>
        <a:bodyPr/>
        <a:lstStyle/>
        <a:p>
          <a:endParaRPr lang="en-US"/>
        </a:p>
      </dgm:t>
    </dgm:pt>
    <dgm:pt modelId="{93101A50-6F76-4179-825F-60C5E38597E6}">
      <dgm:prSet phldrT="[Text]"/>
      <dgm:spPr/>
      <dgm:t>
        <a:bodyPr/>
        <a:lstStyle/>
        <a:p>
          <a:pPr>
            <a:buClrTx/>
            <a:buSzTx/>
            <a:buFont typeface="Arial" panose="020B0604020202020204" pitchFamily="34" charset="0"/>
            <a:buNone/>
          </a:pPr>
          <a:r>
            <a:rPr lang="en-US" dirty="0">
              <a:solidFill>
                <a:schemeClr val="bg1">
                  <a:lumMod val="85000"/>
                </a:schemeClr>
              </a:solidFill>
            </a:rPr>
            <a:t>International Regulatory Developments</a:t>
          </a:r>
        </a:p>
      </dgm:t>
    </dgm:pt>
    <dgm:pt modelId="{59A65BAA-140D-49DF-BDDE-2FB0BE7D644E}" type="parTrans" cxnId="{5EF12CC5-EF02-4465-B8EB-8133821233C0}">
      <dgm:prSet/>
      <dgm:spPr/>
      <dgm:t>
        <a:bodyPr/>
        <a:lstStyle/>
        <a:p>
          <a:endParaRPr lang="en-US"/>
        </a:p>
      </dgm:t>
    </dgm:pt>
    <dgm:pt modelId="{4A7A9B38-240E-4DBD-92EB-4761639CD764}" type="sibTrans" cxnId="{5EF12CC5-EF02-4465-B8EB-8133821233C0}">
      <dgm:prSet/>
      <dgm:spPr/>
      <dgm:t>
        <a:bodyPr/>
        <a:lstStyle/>
        <a:p>
          <a:endParaRPr lang="en-US"/>
        </a:p>
      </dgm:t>
    </dgm:pt>
    <dgm:pt modelId="{401236C7-3B10-4408-8A50-55FB65905EC9}">
      <dgm:prSet phldrT="[Text]"/>
      <dgm:spPr/>
      <dgm:t>
        <a:bodyPr/>
        <a:lstStyle/>
        <a:p>
          <a:r>
            <a:rPr lang="de-DE" b="0" i="0" u="none" dirty="0">
              <a:solidFill>
                <a:schemeClr val="bg1">
                  <a:lumMod val="85000"/>
                </a:schemeClr>
              </a:solidFill>
            </a:rPr>
            <a:t>PQC (Post-Quantum </a:t>
          </a:r>
          <a:r>
            <a:rPr lang="de-DE" b="0" i="0" u="none" dirty="0" err="1">
              <a:solidFill>
                <a:schemeClr val="bg1">
                  <a:lumMod val="85000"/>
                </a:schemeClr>
              </a:solidFill>
            </a:rPr>
            <a:t>Cryptography</a:t>
          </a:r>
          <a:r>
            <a:rPr lang="de-DE" b="0" i="0" u="none" dirty="0">
              <a:solidFill>
                <a:schemeClr val="bg1">
                  <a:lumMod val="85000"/>
                </a:schemeClr>
              </a:solidFill>
            </a:rPr>
            <a:t>)</a:t>
          </a:r>
          <a:endParaRPr lang="en-US" dirty="0">
            <a:solidFill>
              <a:schemeClr val="bg1">
                <a:lumMod val="85000"/>
              </a:schemeClr>
            </a:solidFill>
          </a:endParaRPr>
        </a:p>
      </dgm:t>
    </dgm:pt>
    <dgm:pt modelId="{95456F1C-63DE-427F-8851-C69F548F2C58}" type="parTrans" cxnId="{BEAB71C5-3266-4004-92DE-B24293746233}">
      <dgm:prSet/>
      <dgm:spPr/>
      <dgm:t>
        <a:bodyPr/>
        <a:lstStyle/>
        <a:p>
          <a:endParaRPr lang="en-US"/>
        </a:p>
      </dgm:t>
    </dgm:pt>
    <dgm:pt modelId="{FA6010B9-7CC7-45B3-ADF9-A23724C47D13}" type="sibTrans" cxnId="{BEAB71C5-3266-4004-92DE-B24293746233}">
      <dgm:prSet/>
      <dgm:spPr/>
      <dgm:t>
        <a:bodyPr/>
        <a:lstStyle/>
        <a:p>
          <a:endParaRPr lang="en-US"/>
        </a:p>
      </dgm:t>
    </dgm:pt>
    <dgm:pt modelId="{B268C4B4-C122-4D0F-B69C-BB8745E3A3DD}" type="pres">
      <dgm:prSet presAssocID="{4C1278E0-518F-4769-B7C8-A287E7695598}" presName="Name0" presStyleCnt="0">
        <dgm:presLayoutVars>
          <dgm:chMax val="7"/>
          <dgm:chPref val="7"/>
          <dgm:dir/>
        </dgm:presLayoutVars>
      </dgm:prSet>
      <dgm:spPr/>
    </dgm:pt>
    <dgm:pt modelId="{AF3BE7C3-2985-4415-9D0B-2F65AF079E16}" type="pres">
      <dgm:prSet presAssocID="{4C1278E0-518F-4769-B7C8-A287E7695598}" presName="Name1" presStyleCnt="0"/>
      <dgm:spPr/>
    </dgm:pt>
    <dgm:pt modelId="{B8E1FF46-CB5B-48BB-B0D3-66A611B189BB}" type="pres">
      <dgm:prSet presAssocID="{4C1278E0-518F-4769-B7C8-A287E7695598}" presName="cycle" presStyleCnt="0"/>
      <dgm:spPr/>
    </dgm:pt>
    <dgm:pt modelId="{0C895D8E-38E2-4A7E-AC09-03C9782BA739}" type="pres">
      <dgm:prSet presAssocID="{4C1278E0-518F-4769-B7C8-A287E7695598}" presName="srcNode" presStyleLbl="node1" presStyleIdx="0" presStyleCnt="3"/>
      <dgm:spPr/>
    </dgm:pt>
    <dgm:pt modelId="{B174ABE9-A050-4132-B764-2DB3DD441ED1}" type="pres">
      <dgm:prSet presAssocID="{4C1278E0-518F-4769-B7C8-A287E7695598}" presName="conn" presStyleLbl="parChTrans1D2" presStyleIdx="0" presStyleCnt="1"/>
      <dgm:spPr/>
    </dgm:pt>
    <dgm:pt modelId="{5DE1571F-130B-49E5-B821-F3793FDD4973}" type="pres">
      <dgm:prSet presAssocID="{4C1278E0-518F-4769-B7C8-A287E7695598}" presName="extraNode" presStyleLbl="node1" presStyleIdx="0" presStyleCnt="3"/>
      <dgm:spPr/>
    </dgm:pt>
    <dgm:pt modelId="{211AEB76-CDD2-4918-97A2-8472F9DDE20F}" type="pres">
      <dgm:prSet presAssocID="{4C1278E0-518F-4769-B7C8-A287E7695598}" presName="dstNode" presStyleLbl="node1" presStyleIdx="0" presStyleCnt="3"/>
      <dgm:spPr/>
    </dgm:pt>
    <dgm:pt modelId="{7F8EF875-57B6-4E4C-8A10-BE7EFCBC0BB1}" type="pres">
      <dgm:prSet presAssocID="{2BD9EDD3-5A1B-4590-ADAD-809AD74A12EC}" presName="text_1" presStyleLbl="node1" presStyleIdx="0" presStyleCnt="3">
        <dgm:presLayoutVars>
          <dgm:bulletEnabled val="1"/>
        </dgm:presLayoutVars>
      </dgm:prSet>
      <dgm:spPr/>
    </dgm:pt>
    <dgm:pt modelId="{81004FDC-1A1C-4B3D-A460-48B6D4845BB2}" type="pres">
      <dgm:prSet presAssocID="{2BD9EDD3-5A1B-4590-ADAD-809AD74A12EC}" presName="accent_1" presStyleCnt="0"/>
      <dgm:spPr/>
    </dgm:pt>
    <dgm:pt modelId="{45136930-ACDF-4779-AE31-B5F03FB4B4B6}" type="pres">
      <dgm:prSet presAssocID="{2BD9EDD3-5A1B-4590-ADAD-809AD74A12EC}" presName="accentRepeatNode" presStyleLbl="solidFgAcc1" presStyleIdx="0" presStyleCnt="3"/>
      <dgm:spPr/>
    </dgm:pt>
    <dgm:pt modelId="{DC0C79C8-7B68-44F8-B7EB-69A481F56589}" type="pres">
      <dgm:prSet presAssocID="{93101A50-6F76-4179-825F-60C5E38597E6}" presName="text_2" presStyleLbl="node1" presStyleIdx="1" presStyleCnt="3">
        <dgm:presLayoutVars>
          <dgm:bulletEnabled val="1"/>
        </dgm:presLayoutVars>
      </dgm:prSet>
      <dgm:spPr/>
    </dgm:pt>
    <dgm:pt modelId="{68BB1330-F934-4633-B3DE-DD58854033CF}" type="pres">
      <dgm:prSet presAssocID="{93101A50-6F76-4179-825F-60C5E38597E6}" presName="accent_2" presStyleCnt="0"/>
      <dgm:spPr/>
    </dgm:pt>
    <dgm:pt modelId="{D8D3E725-9B4B-48E5-99C8-667D022BB3CA}" type="pres">
      <dgm:prSet presAssocID="{93101A50-6F76-4179-825F-60C5E38597E6}" presName="accentRepeatNode" presStyleLbl="solidFgAcc1" presStyleIdx="1" presStyleCnt="3"/>
      <dgm:spPr/>
    </dgm:pt>
    <dgm:pt modelId="{E79CDA4C-A7F1-4BB4-A5A5-FE59E669DC34}" type="pres">
      <dgm:prSet presAssocID="{401236C7-3B10-4408-8A50-55FB65905EC9}" presName="text_3" presStyleLbl="node1" presStyleIdx="2" presStyleCnt="3">
        <dgm:presLayoutVars>
          <dgm:bulletEnabled val="1"/>
        </dgm:presLayoutVars>
      </dgm:prSet>
      <dgm:spPr/>
    </dgm:pt>
    <dgm:pt modelId="{A4882BCB-71CB-4DE3-BE81-31DB2FF68E14}" type="pres">
      <dgm:prSet presAssocID="{401236C7-3B10-4408-8A50-55FB65905EC9}" presName="accent_3" presStyleCnt="0"/>
      <dgm:spPr/>
    </dgm:pt>
    <dgm:pt modelId="{A459FD3A-FC5F-43AA-A00B-1CC12C6E54CA}" type="pres">
      <dgm:prSet presAssocID="{401236C7-3B10-4408-8A50-55FB65905EC9}" presName="accentRepeatNode" presStyleLbl="solidFgAcc1" presStyleIdx="2" presStyleCnt="3"/>
      <dgm:spPr/>
    </dgm:pt>
  </dgm:ptLst>
  <dgm:cxnLst>
    <dgm:cxn modelId="{29A32B12-04F7-47DB-868C-EB0ACFA6A908}" type="presOf" srcId="{2BD9EDD3-5A1B-4590-ADAD-809AD74A12EC}" destId="{7F8EF875-57B6-4E4C-8A10-BE7EFCBC0BB1}" srcOrd="0" destOrd="0" presId="urn:microsoft.com/office/officeart/2008/layout/VerticalCurvedList"/>
    <dgm:cxn modelId="{03C0771E-05FB-4782-9522-0DC51F218D17}" type="presOf" srcId="{401236C7-3B10-4408-8A50-55FB65905EC9}" destId="{E79CDA4C-A7F1-4BB4-A5A5-FE59E669DC34}" srcOrd="0" destOrd="0" presId="urn:microsoft.com/office/officeart/2008/layout/VerticalCurvedList"/>
    <dgm:cxn modelId="{A6A8255E-D390-4D9C-B836-25F225A0FEC6}" srcId="{4C1278E0-518F-4769-B7C8-A287E7695598}" destId="{2BD9EDD3-5A1B-4590-ADAD-809AD74A12EC}" srcOrd="0" destOrd="0" parTransId="{2CB77CF7-EE66-4804-959C-AD0F70CCEF1A}" sibTransId="{B16D06B8-EF0E-4975-A917-B979DF65E536}"/>
    <dgm:cxn modelId="{31594F6F-1788-4BAB-A249-9523955840D9}" type="presOf" srcId="{4C1278E0-518F-4769-B7C8-A287E7695598}" destId="{B268C4B4-C122-4D0F-B69C-BB8745E3A3DD}" srcOrd="0" destOrd="0" presId="urn:microsoft.com/office/officeart/2008/layout/VerticalCurvedList"/>
    <dgm:cxn modelId="{5E44CEB4-A4D6-4BFA-8303-12DEBA24D64F}" type="presOf" srcId="{B16D06B8-EF0E-4975-A917-B979DF65E536}" destId="{B174ABE9-A050-4132-B764-2DB3DD441ED1}" srcOrd="0" destOrd="0" presId="urn:microsoft.com/office/officeart/2008/layout/VerticalCurvedList"/>
    <dgm:cxn modelId="{5EF12CC5-EF02-4465-B8EB-8133821233C0}" srcId="{4C1278E0-518F-4769-B7C8-A287E7695598}" destId="{93101A50-6F76-4179-825F-60C5E38597E6}" srcOrd="1" destOrd="0" parTransId="{59A65BAA-140D-49DF-BDDE-2FB0BE7D644E}" sibTransId="{4A7A9B38-240E-4DBD-92EB-4761639CD764}"/>
    <dgm:cxn modelId="{BEAB71C5-3266-4004-92DE-B24293746233}" srcId="{4C1278E0-518F-4769-B7C8-A287E7695598}" destId="{401236C7-3B10-4408-8A50-55FB65905EC9}" srcOrd="2" destOrd="0" parTransId="{95456F1C-63DE-427F-8851-C69F548F2C58}" sibTransId="{FA6010B9-7CC7-45B3-ADF9-A23724C47D13}"/>
    <dgm:cxn modelId="{A9C377E9-CB21-4F53-AE12-5BF0A1F93D3D}" type="presOf" srcId="{93101A50-6F76-4179-825F-60C5E38597E6}" destId="{DC0C79C8-7B68-44F8-B7EB-69A481F56589}" srcOrd="0" destOrd="0" presId="urn:microsoft.com/office/officeart/2008/layout/VerticalCurvedList"/>
    <dgm:cxn modelId="{D5E4D3FF-8BA4-4CFB-80FA-567BAFFFE4FC}" type="presParOf" srcId="{B268C4B4-C122-4D0F-B69C-BB8745E3A3DD}" destId="{AF3BE7C3-2985-4415-9D0B-2F65AF079E16}" srcOrd="0" destOrd="0" presId="urn:microsoft.com/office/officeart/2008/layout/VerticalCurvedList"/>
    <dgm:cxn modelId="{205C789C-0234-453D-AF7E-AF01CF95E2E5}" type="presParOf" srcId="{AF3BE7C3-2985-4415-9D0B-2F65AF079E16}" destId="{B8E1FF46-CB5B-48BB-B0D3-66A611B189BB}" srcOrd="0" destOrd="0" presId="urn:microsoft.com/office/officeart/2008/layout/VerticalCurvedList"/>
    <dgm:cxn modelId="{B6AEA63C-22F4-41E4-A844-7A94464FCF89}" type="presParOf" srcId="{B8E1FF46-CB5B-48BB-B0D3-66A611B189BB}" destId="{0C895D8E-38E2-4A7E-AC09-03C9782BA739}" srcOrd="0" destOrd="0" presId="urn:microsoft.com/office/officeart/2008/layout/VerticalCurvedList"/>
    <dgm:cxn modelId="{528F882B-796A-4E7A-BAD2-C3C0039EDE8B}" type="presParOf" srcId="{B8E1FF46-CB5B-48BB-B0D3-66A611B189BB}" destId="{B174ABE9-A050-4132-B764-2DB3DD441ED1}" srcOrd="1" destOrd="0" presId="urn:microsoft.com/office/officeart/2008/layout/VerticalCurvedList"/>
    <dgm:cxn modelId="{2EF4A755-CFE2-4B4A-82A0-20CBC784B42D}" type="presParOf" srcId="{B8E1FF46-CB5B-48BB-B0D3-66A611B189BB}" destId="{5DE1571F-130B-49E5-B821-F3793FDD4973}" srcOrd="2" destOrd="0" presId="urn:microsoft.com/office/officeart/2008/layout/VerticalCurvedList"/>
    <dgm:cxn modelId="{2434673C-716C-4F96-9F5E-1658B64FC95E}" type="presParOf" srcId="{B8E1FF46-CB5B-48BB-B0D3-66A611B189BB}" destId="{211AEB76-CDD2-4918-97A2-8472F9DDE20F}" srcOrd="3" destOrd="0" presId="urn:microsoft.com/office/officeart/2008/layout/VerticalCurvedList"/>
    <dgm:cxn modelId="{71F13DBA-5831-4F9C-8C85-B035FE4AABE7}" type="presParOf" srcId="{AF3BE7C3-2985-4415-9D0B-2F65AF079E16}" destId="{7F8EF875-57B6-4E4C-8A10-BE7EFCBC0BB1}" srcOrd="1" destOrd="0" presId="urn:microsoft.com/office/officeart/2008/layout/VerticalCurvedList"/>
    <dgm:cxn modelId="{33E8F5C2-92CA-4178-96C6-A6C0C0793804}" type="presParOf" srcId="{AF3BE7C3-2985-4415-9D0B-2F65AF079E16}" destId="{81004FDC-1A1C-4B3D-A460-48B6D4845BB2}" srcOrd="2" destOrd="0" presId="urn:microsoft.com/office/officeart/2008/layout/VerticalCurvedList"/>
    <dgm:cxn modelId="{71A933D5-46B9-4830-BD5D-7809E28E4DF4}" type="presParOf" srcId="{81004FDC-1A1C-4B3D-A460-48B6D4845BB2}" destId="{45136930-ACDF-4779-AE31-B5F03FB4B4B6}" srcOrd="0" destOrd="0" presId="urn:microsoft.com/office/officeart/2008/layout/VerticalCurvedList"/>
    <dgm:cxn modelId="{44846E39-CE21-4239-A143-5406EA08AEBE}" type="presParOf" srcId="{AF3BE7C3-2985-4415-9D0B-2F65AF079E16}" destId="{DC0C79C8-7B68-44F8-B7EB-69A481F56589}" srcOrd="3" destOrd="0" presId="urn:microsoft.com/office/officeart/2008/layout/VerticalCurvedList"/>
    <dgm:cxn modelId="{68CE241C-6408-4B98-B04F-1F0B71B705CA}" type="presParOf" srcId="{AF3BE7C3-2985-4415-9D0B-2F65AF079E16}" destId="{68BB1330-F934-4633-B3DE-DD58854033CF}" srcOrd="4" destOrd="0" presId="urn:microsoft.com/office/officeart/2008/layout/VerticalCurvedList"/>
    <dgm:cxn modelId="{6B3E3956-0831-4A0B-9DEE-C41B7D4EB447}" type="presParOf" srcId="{68BB1330-F934-4633-B3DE-DD58854033CF}" destId="{D8D3E725-9B4B-48E5-99C8-667D022BB3CA}" srcOrd="0" destOrd="0" presId="urn:microsoft.com/office/officeart/2008/layout/VerticalCurvedList"/>
    <dgm:cxn modelId="{228248D0-FEFD-449B-82D1-F9EEA67AA6DE}" type="presParOf" srcId="{AF3BE7C3-2985-4415-9D0B-2F65AF079E16}" destId="{E79CDA4C-A7F1-4BB4-A5A5-FE59E669DC34}" srcOrd="5" destOrd="0" presId="urn:microsoft.com/office/officeart/2008/layout/VerticalCurvedList"/>
    <dgm:cxn modelId="{22C67367-88B0-4DBB-85DA-208707E81783}" type="presParOf" srcId="{AF3BE7C3-2985-4415-9D0B-2F65AF079E16}" destId="{A4882BCB-71CB-4DE3-BE81-31DB2FF68E14}" srcOrd="6" destOrd="0" presId="urn:microsoft.com/office/officeart/2008/layout/VerticalCurvedList"/>
    <dgm:cxn modelId="{DC8C9ABB-DC70-49D1-8D91-595D07FFCC66}" type="presParOf" srcId="{A4882BCB-71CB-4DE3-BE81-31DB2FF68E14}" destId="{A459FD3A-FC5F-43AA-A00B-1CC12C6E54CA}" srcOrd="0" destOrd="0" presId="urn:microsoft.com/office/officeart/2008/layout/VerticalCurv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4C1278E0-518F-4769-B7C8-A287E7695598}"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en-US"/>
        </a:p>
      </dgm:t>
    </dgm:pt>
    <dgm:pt modelId="{2BD9EDD3-5A1B-4590-ADAD-809AD74A12EC}">
      <dgm:prSet phldrT="[Text]"/>
      <dgm:spPr/>
      <dgm:t>
        <a:bodyPr/>
        <a:lstStyle/>
        <a:p>
          <a:pPr>
            <a:buClrTx/>
            <a:buSzTx/>
            <a:buFont typeface="Arial" panose="020B0604020202020204" pitchFamily="34" charset="0"/>
            <a:buNone/>
          </a:pPr>
          <a:r>
            <a:rPr lang="de-DE" b="0" i="0" u="none" dirty="0" err="1">
              <a:solidFill>
                <a:schemeClr val="bg1">
                  <a:lumMod val="85000"/>
                </a:schemeClr>
              </a:solidFill>
              <a:latin typeface="Arial" panose="020B0604020202020204" pitchFamily="34" charset="0"/>
            </a:rPr>
            <a:t>Cybersecurity</a:t>
          </a:r>
          <a:r>
            <a:rPr lang="de-DE" b="0" i="0" u="none" dirty="0">
              <a:solidFill>
                <a:schemeClr val="bg1">
                  <a:lumMod val="85000"/>
                </a:schemeClr>
              </a:solidFill>
              <a:latin typeface="Arial" panose="020B0604020202020204" pitchFamily="34" charset="0"/>
            </a:rPr>
            <a:t> </a:t>
          </a:r>
          <a:r>
            <a:rPr lang="de-DE" b="0" i="0" u="none" dirty="0" err="1">
              <a:solidFill>
                <a:schemeClr val="bg1">
                  <a:lumMod val="85000"/>
                </a:schemeClr>
              </a:solidFill>
              <a:latin typeface="Arial" panose="020B0604020202020204" pitchFamily="34" charset="0"/>
            </a:rPr>
            <a:t>Threats</a:t>
          </a:r>
          <a:r>
            <a:rPr lang="de-DE" b="0" i="0" u="none" dirty="0">
              <a:solidFill>
                <a:schemeClr val="bg1">
                  <a:lumMod val="85000"/>
                </a:schemeClr>
              </a:solidFill>
              <a:latin typeface="Arial" panose="020B0604020202020204" pitchFamily="34" charset="0"/>
            </a:rPr>
            <a:t> and </a:t>
          </a:r>
          <a:r>
            <a:rPr lang="de-DE" b="0" i="0" u="none" dirty="0" err="1">
              <a:solidFill>
                <a:schemeClr val="bg1">
                  <a:lumMod val="85000"/>
                </a:schemeClr>
              </a:solidFill>
              <a:latin typeface="Arial" panose="020B0604020202020204" pitchFamily="34" charset="0"/>
            </a:rPr>
            <a:t>Risks</a:t>
          </a:r>
          <a:r>
            <a:rPr lang="de-DE" b="0" i="0" u="none" dirty="0">
              <a:solidFill>
                <a:schemeClr val="bg1">
                  <a:lumMod val="85000"/>
                </a:schemeClr>
              </a:solidFill>
              <a:latin typeface="Arial" panose="020B0604020202020204" pitchFamily="34" charset="0"/>
            </a:rPr>
            <a:t> </a:t>
          </a:r>
          <a:r>
            <a:rPr lang="de-DE" b="0" i="0" u="none" dirty="0" err="1">
              <a:solidFill>
                <a:schemeClr val="bg1">
                  <a:lumMod val="85000"/>
                </a:schemeClr>
              </a:solidFill>
              <a:latin typeface="Arial" panose="020B0604020202020204" pitchFamily="34" charset="0"/>
            </a:rPr>
            <a:t>for</a:t>
          </a:r>
          <a:r>
            <a:rPr lang="de-DE" b="0" i="0" u="none" dirty="0">
              <a:solidFill>
                <a:schemeClr val="bg1">
                  <a:lumMod val="85000"/>
                </a:schemeClr>
              </a:solidFill>
              <a:latin typeface="Arial" panose="020B0604020202020204" pitchFamily="34" charset="0"/>
            </a:rPr>
            <a:t> SDVs</a:t>
          </a:r>
          <a:endParaRPr lang="en-US" dirty="0">
            <a:solidFill>
              <a:schemeClr val="bg1">
                <a:lumMod val="85000"/>
              </a:schemeClr>
            </a:solidFill>
          </a:endParaRPr>
        </a:p>
      </dgm:t>
    </dgm:pt>
    <dgm:pt modelId="{2CB77CF7-EE66-4804-959C-AD0F70CCEF1A}" type="parTrans" cxnId="{A6A8255E-D390-4D9C-B836-25F225A0FEC6}">
      <dgm:prSet/>
      <dgm:spPr/>
      <dgm:t>
        <a:bodyPr/>
        <a:lstStyle/>
        <a:p>
          <a:endParaRPr lang="en-US"/>
        </a:p>
      </dgm:t>
    </dgm:pt>
    <dgm:pt modelId="{B16D06B8-EF0E-4975-A917-B979DF65E536}" type="sibTrans" cxnId="{A6A8255E-D390-4D9C-B836-25F225A0FEC6}">
      <dgm:prSet/>
      <dgm:spPr/>
      <dgm:t>
        <a:bodyPr/>
        <a:lstStyle/>
        <a:p>
          <a:endParaRPr lang="en-US"/>
        </a:p>
      </dgm:t>
    </dgm:pt>
    <dgm:pt modelId="{93101A50-6F76-4179-825F-60C5E38597E6}">
      <dgm:prSet phldrT="[Text]"/>
      <dgm:spPr/>
      <dgm:t>
        <a:bodyPr/>
        <a:lstStyle/>
        <a:p>
          <a:pPr>
            <a:buClrTx/>
            <a:buSzTx/>
            <a:buFont typeface="Arial" panose="020B0604020202020204" pitchFamily="34" charset="0"/>
            <a:buNone/>
          </a:pPr>
          <a:r>
            <a:rPr lang="en-US" dirty="0">
              <a:solidFill>
                <a:schemeClr val="tx1"/>
              </a:solidFill>
            </a:rPr>
            <a:t>International Regulatory Developments</a:t>
          </a:r>
        </a:p>
      </dgm:t>
    </dgm:pt>
    <dgm:pt modelId="{59A65BAA-140D-49DF-BDDE-2FB0BE7D644E}" type="parTrans" cxnId="{5EF12CC5-EF02-4465-B8EB-8133821233C0}">
      <dgm:prSet/>
      <dgm:spPr/>
      <dgm:t>
        <a:bodyPr/>
        <a:lstStyle/>
        <a:p>
          <a:endParaRPr lang="en-US"/>
        </a:p>
      </dgm:t>
    </dgm:pt>
    <dgm:pt modelId="{4A7A9B38-240E-4DBD-92EB-4761639CD764}" type="sibTrans" cxnId="{5EF12CC5-EF02-4465-B8EB-8133821233C0}">
      <dgm:prSet/>
      <dgm:spPr/>
      <dgm:t>
        <a:bodyPr/>
        <a:lstStyle/>
        <a:p>
          <a:endParaRPr lang="en-US"/>
        </a:p>
      </dgm:t>
    </dgm:pt>
    <dgm:pt modelId="{F0CC0F94-C265-4F27-98EC-38A46BCB4310}">
      <dgm:prSet phldrT="[Text]"/>
      <dgm:spPr/>
      <dgm:t>
        <a:bodyPr/>
        <a:lstStyle/>
        <a:p>
          <a:r>
            <a:rPr lang="de-DE" b="0" i="0" u="none" dirty="0">
              <a:solidFill>
                <a:schemeClr val="bg1">
                  <a:lumMod val="85000"/>
                </a:schemeClr>
              </a:solidFill>
            </a:rPr>
            <a:t>PQC (Post-Quantum </a:t>
          </a:r>
          <a:r>
            <a:rPr lang="de-DE" b="0" i="0" u="none" dirty="0" err="1">
              <a:solidFill>
                <a:schemeClr val="bg1">
                  <a:lumMod val="85000"/>
                </a:schemeClr>
              </a:solidFill>
            </a:rPr>
            <a:t>Cryptography</a:t>
          </a:r>
          <a:r>
            <a:rPr lang="de-DE" b="0" i="0" u="none" dirty="0">
              <a:solidFill>
                <a:schemeClr val="bg1">
                  <a:lumMod val="85000"/>
                </a:schemeClr>
              </a:solidFill>
            </a:rPr>
            <a:t>)</a:t>
          </a:r>
          <a:endParaRPr lang="en-US" dirty="0">
            <a:solidFill>
              <a:schemeClr val="bg1">
                <a:lumMod val="85000"/>
              </a:schemeClr>
            </a:solidFill>
          </a:endParaRPr>
        </a:p>
      </dgm:t>
    </dgm:pt>
    <dgm:pt modelId="{711DE623-8F36-40D8-A03B-E410A3905A3A}" type="parTrans" cxnId="{E6464BEE-BBEB-4804-BD33-66FF43811AB5}">
      <dgm:prSet/>
      <dgm:spPr/>
      <dgm:t>
        <a:bodyPr/>
        <a:lstStyle/>
        <a:p>
          <a:endParaRPr lang="en-US"/>
        </a:p>
      </dgm:t>
    </dgm:pt>
    <dgm:pt modelId="{5B4D1625-F753-425D-BFFD-ADB0118C4F05}" type="sibTrans" cxnId="{E6464BEE-BBEB-4804-BD33-66FF43811AB5}">
      <dgm:prSet/>
      <dgm:spPr/>
      <dgm:t>
        <a:bodyPr/>
        <a:lstStyle/>
        <a:p>
          <a:endParaRPr lang="en-US"/>
        </a:p>
      </dgm:t>
    </dgm:pt>
    <dgm:pt modelId="{B268C4B4-C122-4D0F-B69C-BB8745E3A3DD}" type="pres">
      <dgm:prSet presAssocID="{4C1278E0-518F-4769-B7C8-A287E7695598}" presName="Name0" presStyleCnt="0">
        <dgm:presLayoutVars>
          <dgm:chMax val="7"/>
          <dgm:chPref val="7"/>
          <dgm:dir/>
        </dgm:presLayoutVars>
      </dgm:prSet>
      <dgm:spPr/>
    </dgm:pt>
    <dgm:pt modelId="{AF3BE7C3-2985-4415-9D0B-2F65AF079E16}" type="pres">
      <dgm:prSet presAssocID="{4C1278E0-518F-4769-B7C8-A287E7695598}" presName="Name1" presStyleCnt="0"/>
      <dgm:spPr/>
    </dgm:pt>
    <dgm:pt modelId="{B8E1FF46-CB5B-48BB-B0D3-66A611B189BB}" type="pres">
      <dgm:prSet presAssocID="{4C1278E0-518F-4769-B7C8-A287E7695598}" presName="cycle" presStyleCnt="0"/>
      <dgm:spPr/>
    </dgm:pt>
    <dgm:pt modelId="{0C895D8E-38E2-4A7E-AC09-03C9782BA739}" type="pres">
      <dgm:prSet presAssocID="{4C1278E0-518F-4769-B7C8-A287E7695598}" presName="srcNode" presStyleLbl="node1" presStyleIdx="0" presStyleCnt="3"/>
      <dgm:spPr/>
    </dgm:pt>
    <dgm:pt modelId="{B174ABE9-A050-4132-B764-2DB3DD441ED1}" type="pres">
      <dgm:prSet presAssocID="{4C1278E0-518F-4769-B7C8-A287E7695598}" presName="conn" presStyleLbl="parChTrans1D2" presStyleIdx="0" presStyleCnt="1"/>
      <dgm:spPr/>
    </dgm:pt>
    <dgm:pt modelId="{5DE1571F-130B-49E5-B821-F3793FDD4973}" type="pres">
      <dgm:prSet presAssocID="{4C1278E0-518F-4769-B7C8-A287E7695598}" presName="extraNode" presStyleLbl="node1" presStyleIdx="0" presStyleCnt="3"/>
      <dgm:spPr/>
    </dgm:pt>
    <dgm:pt modelId="{211AEB76-CDD2-4918-97A2-8472F9DDE20F}" type="pres">
      <dgm:prSet presAssocID="{4C1278E0-518F-4769-B7C8-A287E7695598}" presName="dstNode" presStyleLbl="node1" presStyleIdx="0" presStyleCnt="3"/>
      <dgm:spPr/>
    </dgm:pt>
    <dgm:pt modelId="{7F8EF875-57B6-4E4C-8A10-BE7EFCBC0BB1}" type="pres">
      <dgm:prSet presAssocID="{2BD9EDD3-5A1B-4590-ADAD-809AD74A12EC}" presName="text_1" presStyleLbl="node1" presStyleIdx="0" presStyleCnt="3">
        <dgm:presLayoutVars>
          <dgm:bulletEnabled val="1"/>
        </dgm:presLayoutVars>
      </dgm:prSet>
      <dgm:spPr/>
    </dgm:pt>
    <dgm:pt modelId="{81004FDC-1A1C-4B3D-A460-48B6D4845BB2}" type="pres">
      <dgm:prSet presAssocID="{2BD9EDD3-5A1B-4590-ADAD-809AD74A12EC}" presName="accent_1" presStyleCnt="0"/>
      <dgm:spPr/>
    </dgm:pt>
    <dgm:pt modelId="{45136930-ACDF-4779-AE31-B5F03FB4B4B6}" type="pres">
      <dgm:prSet presAssocID="{2BD9EDD3-5A1B-4590-ADAD-809AD74A12EC}" presName="accentRepeatNode" presStyleLbl="solidFgAcc1" presStyleIdx="0" presStyleCnt="3"/>
      <dgm:spPr/>
    </dgm:pt>
    <dgm:pt modelId="{DC0C79C8-7B68-44F8-B7EB-69A481F56589}" type="pres">
      <dgm:prSet presAssocID="{93101A50-6F76-4179-825F-60C5E38597E6}" presName="text_2" presStyleLbl="node1" presStyleIdx="1" presStyleCnt="3">
        <dgm:presLayoutVars>
          <dgm:bulletEnabled val="1"/>
        </dgm:presLayoutVars>
      </dgm:prSet>
      <dgm:spPr/>
    </dgm:pt>
    <dgm:pt modelId="{68BB1330-F934-4633-B3DE-DD58854033CF}" type="pres">
      <dgm:prSet presAssocID="{93101A50-6F76-4179-825F-60C5E38597E6}" presName="accent_2" presStyleCnt="0"/>
      <dgm:spPr/>
    </dgm:pt>
    <dgm:pt modelId="{D8D3E725-9B4B-48E5-99C8-667D022BB3CA}" type="pres">
      <dgm:prSet presAssocID="{93101A50-6F76-4179-825F-60C5E38597E6}" presName="accentRepeatNode" presStyleLbl="solidFgAcc1" presStyleIdx="1" presStyleCnt="3"/>
      <dgm:spPr/>
    </dgm:pt>
    <dgm:pt modelId="{E21CBD4C-C2A2-4BD1-A543-F2B7DF284220}" type="pres">
      <dgm:prSet presAssocID="{F0CC0F94-C265-4F27-98EC-38A46BCB4310}" presName="text_3" presStyleLbl="node1" presStyleIdx="2" presStyleCnt="3">
        <dgm:presLayoutVars>
          <dgm:bulletEnabled val="1"/>
        </dgm:presLayoutVars>
      </dgm:prSet>
      <dgm:spPr/>
    </dgm:pt>
    <dgm:pt modelId="{3DAF5FB5-C8DC-40D8-9182-7C42AAECB3A7}" type="pres">
      <dgm:prSet presAssocID="{F0CC0F94-C265-4F27-98EC-38A46BCB4310}" presName="accent_3" presStyleCnt="0"/>
      <dgm:spPr/>
    </dgm:pt>
    <dgm:pt modelId="{5A511229-F29A-4B4B-994A-F1410CE29813}" type="pres">
      <dgm:prSet presAssocID="{F0CC0F94-C265-4F27-98EC-38A46BCB4310}" presName="accentRepeatNode" presStyleLbl="solidFgAcc1" presStyleIdx="2" presStyleCnt="3"/>
      <dgm:spPr/>
    </dgm:pt>
  </dgm:ptLst>
  <dgm:cxnLst>
    <dgm:cxn modelId="{29A32B12-04F7-47DB-868C-EB0ACFA6A908}" type="presOf" srcId="{2BD9EDD3-5A1B-4590-ADAD-809AD74A12EC}" destId="{7F8EF875-57B6-4E4C-8A10-BE7EFCBC0BB1}" srcOrd="0" destOrd="0" presId="urn:microsoft.com/office/officeart/2008/layout/VerticalCurvedList"/>
    <dgm:cxn modelId="{98E0EF2B-D50F-4A86-BADF-B946BEE8B359}" type="presOf" srcId="{F0CC0F94-C265-4F27-98EC-38A46BCB4310}" destId="{E21CBD4C-C2A2-4BD1-A543-F2B7DF284220}" srcOrd="0" destOrd="0" presId="urn:microsoft.com/office/officeart/2008/layout/VerticalCurvedList"/>
    <dgm:cxn modelId="{A6A8255E-D390-4D9C-B836-25F225A0FEC6}" srcId="{4C1278E0-518F-4769-B7C8-A287E7695598}" destId="{2BD9EDD3-5A1B-4590-ADAD-809AD74A12EC}" srcOrd="0" destOrd="0" parTransId="{2CB77CF7-EE66-4804-959C-AD0F70CCEF1A}" sibTransId="{B16D06B8-EF0E-4975-A917-B979DF65E536}"/>
    <dgm:cxn modelId="{31594F6F-1788-4BAB-A249-9523955840D9}" type="presOf" srcId="{4C1278E0-518F-4769-B7C8-A287E7695598}" destId="{B268C4B4-C122-4D0F-B69C-BB8745E3A3DD}" srcOrd="0" destOrd="0" presId="urn:microsoft.com/office/officeart/2008/layout/VerticalCurvedList"/>
    <dgm:cxn modelId="{5E44CEB4-A4D6-4BFA-8303-12DEBA24D64F}" type="presOf" srcId="{B16D06B8-EF0E-4975-A917-B979DF65E536}" destId="{B174ABE9-A050-4132-B764-2DB3DD441ED1}" srcOrd="0" destOrd="0" presId="urn:microsoft.com/office/officeart/2008/layout/VerticalCurvedList"/>
    <dgm:cxn modelId="{5EF12CC5-EF02-4465-B8EB-8133821233C0}" srcId="{4C1278E0-518F-4769-B7C8-A287E7695598}" destId="{93101A50-6F76-4179-825F-60C5E38597E6}" srcOrd="1" destOrd="0" parTransId="{59A65BAA-140D-49DF-BDDE-2FB0BE7D644E}" sibTransId="{4A7A9B38-240E-4DBD-92EB-4761639CD764}"/>
    <dgm:cxn modelId="{A9C377E9-CB21-4F53-AE12-5BF0A1F93D3D}" type="presOf" srcId="{93101A50-6F76-4179-825F-60C5E38597E6}" destId="{DC0C79C8-7B68-44F8-B7EB-69A481F56589}" srcOrd="0" destOrd="0" presId="urn:microsoft.com/office/officeart/2008/layout/VerticalCurvedList"/>
    <dgm:cxn modelId="{E6464BEE-BBEB-4804-BD33-66FF43811AB5}" srcId="{4C1278E0-518F-4769-B7C8-A287E7695598}" destId="{F0CC0F94-C265-4F27-98EC-38A46BCB4310}" srcOrd="2" destOrd="0" parTransId="{711DE623-8F36-40D8-A03B-E410A3905A3A}" sibTransId="{5B4D1625-F753-425D-BFFD-ADB0118C4F05}"/>
    <dgm:cxn modelId="{D5E4D3FF-8BA4-4CFB-80FA-567BAFFFE4FC}" type="presParOf" srcId="{B268C4B4-C122-4D0F-B69C-BB8745E3A3DD}" destId="{AF3BE7C3-2985-4415-9D0B-2F65AF079E16}" srcOrd="0" destOrd="0" presId="urn:microsoft.com/office/officeart/2008/layout/VerticalCurvedList"/>
    <dgm:cxn modelId="{205C789C-0234-453D-AF7E-AF01CF95E2E5}" type="presParOf" srcId="{AF3BE7C3-2985-4415-9D0B-2F65AF079E16}" destId="{B8E1FF46-CB5B-48BB-B0D3-66A611B189BB}" srcOrd="0" destOrd="0" presId="urn:microsoft.com/office/officeart/2008/layout/VerticalCurvedList"/>
    <dgm:cxn modelId="{B6AEA63C-22F4-41E4-A844-7A94464FCF89}" type="presParOf" srcId="{B8E1FF46-CB5B-48BB-B0D3-66A611B189BB}" destId="{0C895D8E-38E2-4A7E-AC09-03C9782BA739}" srcOrd="0" destOrd="0" presId="urn:microsoft.com/office/officeart/2008/layout/VerticalCurvedList"/>
    <dgm:cxn modelId="{528F882B-796A-4E7A-BAD2-C3C0039EDE8B}" type="presParOf" srcId="{B8E1FF46-CB5B-48BB-B0D3-66A611B189BB}" destId="{B174ABE9-A050-4132-B764-2DB3DD441ED1}" srcOrd="1" destOrd="0" presId="urn:microsoft.com/office/officeart/2008/layout/VerticalCurvedList"/>
    <dgm:cxn modelId="{2EF4A755-CFE2-4B4A-82A0-20CBC784B42D}" type="presParOf" srcId="{B8E1FF46-CB5B-48BB-B0D3-66A611B189BB}" destId="{5DE1571F-130B-49E5-B821-F3793FDD4973}" srcOrd="2" destOrd="0" presId="urn:microsoft.com/office/officeart/2008/layout/VerticalCurvedList"/>
    <dgm:cxn modelId="{2434673C-716C-4F96-9F5E-1658B64FC95E}" type="presParOf" srcId="{B8E1FF46-CB5B-48BB-B0D3-66A611B189BB}" destId="{211AEB76-CDD2-4918-97A2-8472F9DDE20F}" srcOrd="3" destOrd="0" presId="urn:microsoft.com/office/officeart/2008/layout/VerticalCurvedList"/>
    <dgm:cxn modelId="{71F13DBA-5831-4F9C-8C85-B035FE4AABE7}" type="presParOf" srcId="{AF3BE7C3-2985-4415-9D0B-2F65AF079E16}" destId="{7F8EF875-57B6-4E4C-8A10-BE7EFCBC0BB1}" srcOrd="1" destOrd="0" presId="urn:microsoft.com/office/officeart/2008/layout/VerticalCurvedList"/>
    <dgm:cxn modelId="{33E8F5C2-92CA-4178-96C6-A6C0C0793804}" type="presParOf" srcId="{AF3BE7C3-2985-4415-9D0B-2F65AF079E16}" destId="{81004FDC-1A1C-4B3D-A460-48B6D4845BB2}" srcOrd="2" destOrd="0" presId="urn:microsoft.com/office/officeart/2008/layout/VerticalCurvedList"/>
    <dgm:cxn modelId="{71A933D5-46B9-4830-BD5D-7809E28E4DF4}" type="presParOf" srcId="{81004FDC-1A1C-4B3D-A460-48B6D4845BB2}" destId="{45136930-ACDF-4779-AE31-B5F03FB4B4B6}" srcOrd="0" destOrd="0" presId="urn:microsoft.com/office/officeart/2008/layout/VerticalCurvedList"/>
    <dgm:cxn modelId="{44846E39-CE21-4239-A143-5406EA08AEBE}" type="presParOf" srcId="{AF3BE7C3-2985-4415-9D0B-2F65AF079E16}" destId="{DC0C79C8-7B68-44F8-B7EB-69A481F56589}" srcOrd="3" destOrd="0" presId="urn:microsoft.com/office/officeart/2008/layout/VerticalCurvedList"/>
    <dgm:cxn modelId="{68CE241C-6408-4B98-B04F-1F0B71B705CA}" type="presParOf" srcId="{AF3BE7C3-2985-4415-9D0B-2F65AF079E16}" destId="{68BB1330-F934-4633-B3DE-DD58854033CF}" srcOrd="4" destOrd="0" presId="urn:microsoft.com/office/officeart/2008/layout/VerticalCurvedList"/>
    <dgm:cxn modelId="{6B3E3956-0831-4A0B-9DEE-C41B7D4EB447}" type="presParOf" srcId="{68BB1330-F934-4633-B3DE-DD58854033CF}" destId="{D8D3E725-9B4B-48E5-99C8-667D022BB3CA}" srcOrd="0" destOrd="0" presId="urn:microsoft.com/office/officeart/2008/layout/VerticalCurvedList"/>
    <dgm:cxn modelId="{72E846F3-97F4-42F0-A840-9D2E62A38EE8}" type="presParOf" srcId="{AF3BE7C3-2985-4415-9D0B-2F65AF079E16}" destId="{E21CBD4C-C2A2-4BD1-A543-F2B7DF284220}" srcOrd="5" destOrd="0" presId="urn:microsoft.com/office/officeart/2008/layout/VerticalCurvedList"/>
    <dgm:cxn modelId="{82FED57B-1B59-4263-AAE8-985FA4104BD6}" type="presParOf" srcId="{AF3BE7C3-2985-4415-9D0B-2F65AF079E16}" destId="{3DAF5FB5-C8DC-40D8-9182-7C42AAECB3A7}" srcOrd="6" destOrd="0" presId="urn:microsoft.com/office/officeart/2008/layout/VerticalCurvedList"/>
    <dgm:cxn modelId="{DA421B71-B101-4629-BF40-071362FDEF81}" type="presParOf" srcId="{3DAF5FB5-C8DC-40D8-9182-7C42AAECB3A7}" destId="{5A511229-F29A-4B4B-994A-F1410CE29813}"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4C1278E0-518F-4769-B7C8-A287E7695598}"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en-US"/>
        </a:p>
      </dgm:t>
    </dgm:pt>
    <dgm:pt modelId="{2BD9EDD3-5A1B-4590-ADAD-809AD74A12EC}">
      <dgm:prSet phldrT="[Text]"/>
      <dgm:spPr/>
      <dgm:t>
        <a:bodyPr/>
        <a:lstStyle/>
        <a:p>
          <a:pPr>
            <a:buClrTx/>
            <a:buSzTx/>
            <a:buFont typeface="Arial" panose="020B0604020202020204" pitchFamily="34" charset="0"/>
            <a:buNone/>
          </a:pPr>
          <a:r>
            <a:rPr lang="de-DE" b="0" i="0" u="none" dirty="0" err="1">
              <a:solidFill>
                <a:schemeClr val="bg1">
                  <a:lumMod val="85000"/>
                </a:schemeClr>
              </a:solidFill>
              <a:latin typeface="Arial" panose="020B0604020202020204" pitchFamily="34" charset="0"/>
            </a:rPr>
            <a:t>Cybersecurity</a:t>
          </a:r>
          <a:r>
            <a:rPr lang="de-DE" b="0" i="0" u="none" dirty="0">
              <a:solidFill>
                <a:schemeClr val="bg1">
                  <a:lumMod val="85000"/>
                </a:schemeClr>
              </a:solidFill>
              <a:latin typeface="Arial" panose="020B0604020202020204" pitchFamily="34" charset="0"/>
            </a:rPr>
            <a:t> </a:t>
          </a:r>
          <a:r>
            <a:rPr lang="de-DE" b="0" i="0" u="none" dirty="0" err="1">
              <a:solidFill>
                <a:schemeClr val="bg1">
                  <a:lumMod val="85000"/>
                </a:schemeClr>
              </a:solidFill>
              <a:latin typeface="Arial" panose="020B0604020202020204" pitchFamily="34" charset="0"/>
            </a:rPr>
            <a:t>Threats</a:t>
          </a:r>
          <a:r>
            <a:rPr lang="de-DE" b="0" i="0" u="none" dirty="0">
              <a:solidFill>
                <a:schemeClr val="bg1">
                  <a:lumMod val="85000"/>
                </a:schemeClr>
              </a:solidFill>
              <a:latin typeface="Arial" panose="020B0604020202020204" pitchFamily="34" charset="0"/>
            </a:rPr>
            <a:t> and </a:t>
          </a:r>
          <a:r>
            <a:rPr lang="de-DE" b="0" i="0" u="none" dirty="0" err="1">
              <a:solidFill>
                <a:schemeClr val="bg1">
                  <a:lumMod val="85000"/>
                </a:schemeClr>
              </a:solidFill>
              <a:latin typeface="Arial" panose="020B0604020202020204" pitchFamily="34" charset="0"/>
            </a:rPr>
            <a:t>Risks</a:t>
          </a:r>
          <a:r>
            <a:rPr lang="de-DE" b="0" i="0" u="none" dirty="0">
              <a:solidFill>
                <a:schemeClr val="bg1">
                  <a:lumMod val="85000"/>
                </a:schemeClr>
              </a:solidFill>
              <a:latin typeface="Arial" panose="020B0604020202020204" pitchFamily="34" charset="0"/>
            </a:rPr>
            <a:t> </a:t>
          </a:r>
          <a:r>
            <a:rPr lang="de-DE" b="0" i="0" u="none" dirty="0" err="1">
              <a:solidFill>
                <a:schemeClr val="bg1">
                  <a:lumMod val="85000"/>
                </a:schemeClr>
              </a:solidFill>
              <a:latin typeface="Arial" panose="020B0604020202020204" pitchFamily="34" charset="0"/>
            </a:rPr>
            <a:t>for</a:t>
          </a:r>
          <a:r>
            <a:rPr lang="de-DE" b="0" i="0" u="none" dirty="0">
              <a:solidFill>
                <a:schemeClr val="bg1">
                  <a:lumMod val="85000"/>
                </a:schemeClr>
              </a:solidFill>
              <a:latin typeface="Arial" panose="020B0604020202020204" pitchFamily="34" charset="0"/>
            </a:rPr>
            <a:t> SDVs</a:t>
          </a:r>
          <a:endParaRPr lang="en-US" dirty="0">
            <a:solidFill>
              <a:schemeClr val="bg1">
                <a:lumMod val="85000"/>
              </a:schemeClr>
            </a:solidFill>
          </a:endParaRPr>
        </a:p>
      </dgm:t>
    </dgm:pt>
    <dgm:pt modelId="{2CB77CF7-EE66-4804-959C-AD0F70CCEF1A}" type="parTrans" cxnId="{A6A8255E-D390-4D9C-B836-25F225A0FEC6}">
      <dgm:prSet/>
      <dgm:spPr/>
      <dgm:t>
        <a:bodyPr/>
        <a:lstStyle/>
        <a:p>
          <a:endParaRPr lang="en-US"/>
        </a:p>
      </dgm:t>
    </dgm:pt>
    <dgm:pt modelId="{B16D06B8-EF0E-4975-A917-B979DF65E536}" type="sibTrans" cxnId="{A6A8255E-D390-4D9C-B836-25F225A0FEC6}">
      <dgm:prSet/>
      <dgm:spPr/>
      <dgm:t>
        <a:bodyPr/>
        <a:lstStyle/>
        <a:p>
          <a:endParaRPr lang="en-US"/>
        </a:p>
      </dgm:t>
    </dgm:pt>
    <dgm:pt modelId="{93101A50-6F76-4179-825F-60C5E38597E6}">
      <dgm:prSet phldrT="[Text]"/>
      <dgm:spPr/>
      <dgm:t>
        <a:bodyPr/>
        <a:lstStyle/>
        <a:p>
          <a:pPr>
            <a:buClrTx/>
            <a:buSzTx/>
            <a:buFont typeface="Arial" panose="020B0604020202020204" pitchFamily="34" charset="0"/>
            <a:buNone/>
          </a:pPr>
          <a:r>
            <a:rPr lang="en-US" dirty="0">
              <a:solidFill>
                <a:schemeClr val="bg1">
                  <a:lumMod val="85000"/>
                </a:schemeClr>
              </a:solidFill>
            </a:rPr>
            <a:t>International Regulatory Developments</a:t>
          </a:r>
        </a:p>
      </dgm:t>
    </dgm:pt>
    <dgm:pt modelId="{59A65BAA-140D-49DF-BDDE-2FB0BE7D644E}" type="parTrans" cxnId="{5EF12CC5-EF02-4465-B8EB-8133821233C0}">
      <dgm:prSet/>
      <dgm:spPr/>
      <dgm:t>
        <a:bodyPr/>
        <a:lstStyle/>
        <a:p>
          <a:endParaRPr lang="en-US"/>
        </a:p>
      </dgm:t>
    </dgm:pt>
    <dgm:pt modelId="{4A7A9B38-240E-4DBD-92EB-4761639CD764}" type="sibTrans" cxnId="{5EF12CC5-EF02-4465-B8EB-8133821233C0}">
      <dgm:prSet/>
      <dgm:spPr/>
      <dgm:t>
        <a:bodyPr/>
        <a:lstStyle/>
        <a:p>
          <a:endParaRPr lang="en-US"/>
        </a:p>
      </dgm:t>
    </dgm:pt>
    <dgm:pt modelId="{F0CC0F94-C265-4F27-98EC-38A46BCB4310}">
      <dgm:prSet phldrT="[Text]"/>
      <dgm:spPr/>
      <dgm:t>
        <a:bodyPr/>
        <a:lstStyle/>
        <a:p>
          <a:r>
            <a:rPr lang="de-DE" b="0" i="0" u="none" dirty="0">
              <a:solidFill>
                <a:schemeClr val="tx1"/>
              </a:solidFill>
            </a:rPr>
            <a:t>PQC (Post-Quantum </a:t>
          </a:r>
          <a:r>
            <a:rPr lang="de-DE" b="0" i="0" u="none" dirty="0" err="1">
              <a:solidFill>
                <a:schemeClr val="tx1"/>
              </a:solidFill>
            </a:rPr>
            <a:t>Cryptography</a:t>
          </a:r>
          <a:r>
            <a:rPr lang="de-DE" b="0" i="0" u="none" dirty="0">
              <a:solidFill>
                <a:schemeClr val="tx1"/>
              </a:solidFill>
            </a:rPr>
            <a:t>)</a:t>
          </a:r>
          <a:endParaRPr lang="en-US" dirty="0">
            <a:solidFill>
              <a:schemeClr val="tx1"/>
            </a:solidFill>
          </a:endParaRPr>
        </a:p>
      </dgm:t>
    </dgm:pt>
    <dgm:pt modelId="{711DE623-8F36-40D8-A03B-E410A3905A3A}" type="parTrans" cxnId="{E6464BEE-BBEB-4804-BD33-66FF43811AB5}">
      <dgm:prSet/>
      <dgm:spPr/>
      <dgm:t>
        <a:bodyPr/>
        <a:lstStyle/>
        <a:p>
          <a:endParaRPr lang="en-US"/>
        </a:p>
      </dgm:t>
    </dgm:pt>
    <dgm:pt modelId="{5B4D1625-F753-425D-BFFD-ADB0118C4F05}" type="sibTrans" cxnId="{E6464BEE-BBEB-4804-BD33-66FF43811AB5}">
      <dgm:prSet/>
      <dgm:spPr/>
      <dgm:t>
        <a:bodyPr/>
        <a:lstStyle/>
        <a:p>
          <a:endParaRPr lang="en-US"/>
        </a:p>
      </dgm:t>
    </dgm:pt>
    <dgm:pt modelId="{B268C4B4-C122-4D0F-B69C-BB8745E3A3DD}" type="pres">
      <dgm:prSet presAssocID="{4C1278E0-518F-4769-B7C8-A287E7695598}" presName="Name0" presStyleCnt="0">
        <dgm:presLayoutVars>
          <dgm:chMax val="7"/>
          <dgm:chPref val="7"/>
          <dgm:dir/>
        </dgm:presLayoutVars>
      </dgm:prSet>
      <dgm:spPr/>
    </dgm:pt>
    <dgm:pt modelId="{AF3BE7C3-2985-4415-9D0B-2F65AF079E16}" type="pres">
      <dgm:prSet presAssocID="{4C1278E0-518F-4769-B7C8-A287E7695598}" presName="Name1" presStyleCnt="0"/>
      <dgm:spPr/>
    </dgm:pt>
    <dgm:pt modelId="{B8E1FF46-CB5B-48BB-B0D3-66A611B189BB}" type="pres">
      <dgm:prSet presAssocID="{4C1278E0-518F-4769-B7C8-A287E7695598}" presName="cycle" presStyleCnt="0"/>
      <dgm:spPr/>
    </dgm:pt>
    <dgm:pt modelId="{0C895D8E-38E2-4A7E-AC09-03C9782BA739}" type="pres">
      <dgm:prSet presAssocID="{4C1278E0-518F-4769-B7C8-A287E7695598}" presName="srcNode" presStyleLbl="node1" presStyleIdx="0" presStyleCnt="3"/>
      <dgm:spPr/>
    </dgm:pt>
    <dgm:pt modelId="{B174ABE9-A050-4132-B764-2DB3DD441ED1}" type="pres">
      <dgm:prSet presAssocID="{4C1278E0-518F-4769-B7C8-A287E7695598}" presName="conn" presStyleLbl="parChTrans1D2" presStyleIdx="0" presStyleCnt="1"/>
      <dgm:spPr/>
    </dgm:pt>
    <dgm:pt modelId="{5DE1571F-130B-49E5-B821-F3793FDD4973}" type="pres">
      <dgm:prSet presAssocID="{4C1278E0-518F-4769-B7C8-A287E7695598}" presName="extraNode" presStyleLbl="node1" presStyleIdx="0" presStyleCnt="3"/>
      <dgm:spPr/>
    </dgm:pt>
    <dgm:pt modelId="{211AEB76-CDD2-4918-97A2-8472F9DDE20F}" type="pres">
      <dgm:prSet presAssocID="{4C1278E0-518F-4769-B7C8-A287E7695598}" presName="dstNode" presStyleLbl="node1" presStyleIdx="0" presStyleCnt="3"/>
      <dgm:spPr/>
    </dgm:pt>
    <dgm:pt modelId="{7F8EF875-57B6-4E4C-8A10-BE7EFCBC0BB1}" type="pres">
      <dgm:prSet presAssocID="{2BD9EDD3-5A1B-4590-ADAD-809AD74A12EC}" presName="text_1" presStyleLbl="node1" presStyleIdx="0" presStyleCnt="3">
        <dgm:presLayoutVars>
          <dgm:bulletEnabled val="1"/>
        </dgm:presLayoutVars>
      </dgm:prSet>
      <dgm:spPr/>
    </dgm:pt>
    <dgm:pt modelId="{81004FDC-1A1C-4B3D-A460-48B6D4845BB2}" type="pres">
      <dgm:prSet presAssocID="{2BD9EDD3-5A1B-4590-ADAD-809AD74A12EC}" presName="accent_1" presStyleCnt="0"/>
      <dgm:spPr/>
    </dgm:pt>
    <dgm:pt modelId="{45136930-ACDF-4779-AE31-B5F03FB4B4B6}" type="pres">
      <dgm:prSet presAssocID="{2BD9EDD3-5A1B-4590-ADAD-809AD74A12EC}" presName="accentRepeatNode" presStyleLbl="solidFgAcc1" presStyleIdx="0" presStyleCnt="3"/>
      <dgm:spPr/>
    </dgm:pt>
    <dgm:pt modelId="{DC0C79C8-7B68-44F8-B7EB-69A481F56589}" type="pres">
      <dgm:prSet presAssocID="{93101A50-6F76-4179-825F-60C5E38597E6}" presName="text_2" presStyleLbl="node1" presStyleIdx="1" presStyleCnt="3">
        <dgm:presLayoutVars>
          <dgm:bulletEnabled val="1"/>
        </dgm:presLayoutVars>
      </dgm:prSet>
      <dgm:spPr/>
    </dgm:pt>
    <dgm:pt modelId="{68BB1330-F934-4633-B3DE-DD58854033CF}" type="pres">
      <dgm:prSet presAssocID="{93101A50-6F76-4179-825F-60C5E38597E6}" presName="accent_2" presStyleCnt="0"/>
      <dgm:spPr/>
    </dgm:pt>
    <dgm:pt modelId="{D8D3E725-9B4B-48E5-99C8-667D022BB3CA}" type="pres">
      <dgm:prSet presAssocID="{93101A50-6F76-4179-825F-60C5E38597E6}" presName="accentRepeatNode" presStyleLbl="solidFgAcc1" presStyleIdx="1" presStyleCnt="3"/>
      <dgm:spPr/>
    </dgm:pt>
    <dgm:pt modelId="{E21CBD4C-C2A2-4BD1-A543-F2B7DF284220}" type="pres">
      <dgm:prSet presAssocID="{F0CC0F94-C265-4F27-98EC-38A46BCB4310}" presName="text_3" presStyleLbl="node1" presStyleIdx="2" presStyleCnt="3">
        <dgm:presLayoutVars>
          <dgm:bulletEnabled val="1"/>
        </dgm:presLayoutVars>
      </dgm:prSet>
      <dgm:spPr/>
    </dgm:pt>
    <dgm:pt modelId="{3DAF5FB5-C8DC-40D8-9182-7C42AAECB3A7}" type="pres">
      <dgm:prSet presAssocID="{F0CC0F94-C265-4F27-98EC-38A46BCB4310}" presName="accent_3" presStyleCnt="0"/>
      <dgm:spPr/>
    </dgm:pt>
    <dgm:pt modelId="{5A511229-F29A-4B4B-994A-F1410CE29813}" type="pres">
      <dgm:prSet presAssocID="{F0CC0F94-C265-4F27-98EC-38A46BCB4310}" presName="accentRepeatNode" presStyleLbl="solidFgAcc1" presStyleIdx="2" presStyleCnt="3"/>
      <dgm:spPr/>
    </dgm:pt>
  </dgm:ptLst>
  <dgm:cxnLst>
    <dgm:cxn modelId="{29A32B12-04F7-47DB-868C-EB0ACFA6A908}" type="presOf" srcId="{2BD9EDD3-5A1B-4590-ADAD-809AD74A12EC}" destId="{7F8EF875-57B6-4E4C-8A10-BE7EFCBC0BB1}" srcOrd="0" destOrd="0" presId="urn:microsoft.com/office/officeart/2008/layout/VerticalCurvedList"/>
    <dgm:cxn modelId="{98E0EF2B-D50F-4A86-BADF-B946BEE8B359}" type="presOf" srcId="{F0CC0F94-C265-4F27-98EC-38A46BCB4310}" destId="{E21CBD4C-C2A2-4BD1-A543-F2B7DF284220}" srcOrd="0" destOrd="0" presId="urn:microsoft.com/office/officeart/2008/layout/VerticalCurvedList"/>
    <dgm:cxn modelId="{A6A8255E-D390-4D9C-B836-25F225A0FEC6}" srcId="{4C1278E0-518F-4769-B7C8-A287E7695598}" destId="{2BD9EDD3-5A1B-4590-ADAD-809AD74A12EC}" srcOrd="0" destOrd="0" parTransId="{2CB77CF7-EE66-4804-959C-AD0F70CCEF1A}" sibTransId="{B16D06B8-EF0E-4975-A917-B979DF65E536}"/>
    <dgm:cxn modelId="{31594F6F-1788-4BAB-A249-9523955840D9}" type="presOf" srcId="{4C1278E0-518F-4769-B7C8-A287E7695598}" destId="{B268C4B4-C122-4D0F-B69C-BB8745E3A3DD}" srcOrd="0" destOrd="0" presId="urn:microsoft.com/office/officeart/2008/layout/VerticalCurvedList"/>
    <dgm:cxn modelId="{5E44CEB4-A4D6-4BFA-8303-12DEBA24D64F}" type="presOf" srcId="{B16D06B8-EF0E-4975-A917-B979DF65E536}" destId="{B174ABE9-A050-4132-B764-2DB3DD441ED1}" srcOrd="0" destOrd="0" presId="urn:microsoft.com/office/officeart/2008/layout/VerticalCurvedList"/>
    <dgm:cxn modelId="{5EF12CC5-EF02-4465-B8EB-8133821233C0}" srcId="{4C1278E0-518F-4769-B7C8-A287E7695598}" destId="{93101A50-6F76-4179-825F-60C5E38597E6}" srcOrd="1" destOrd="0" parTransId="{59A65BAA-140D-49DF-BDDE-2FB0BE7D644E}" sibTransId="{4A7A9B38-240E-4DBD-92EB-4761639CD764}"/>
    <dgm:cxn modelId="{A9C377E9-CB21-4F53-AE12-5BF0A1F93D3D}" type="presOf" srcId="{93101A50-6F76-4179-825F-60C5E38597E6}" destId="{DC0C79C8-7B68-44F8-B7EB-69A481F56589}" srcOrd="0" destOrd="0" presId="urn:microsoft.com/office/officeart/2008/layout/VerticalCurvedList"/>
    <dgm:cxn modelId="{E6464BEE-BBEB-4804-BD33-66FF43811AB5}" srcId="{4C1278E0-518F-4769-B7C8-A287E7695598}" destId="{F0CC0F94-C265-4F27-98EC-38A46BCB4310}" srcOrd="2" destOrd="0" parTransId="{711DE623-8F36-40D8-A03B-E410A3905A3A}" sibTransId="{5B4D1625-F753-425D-BFFD-ADB0118C4F05}"/>
    <dgm:cxn modelId="{D5E4D3FF-8BA4-4CFB-80FA-567BAFFFE4FC}" type="presParOf" srcId="{B268C4B4-C122-4D0F-B69C-BB8745E3A3DD}" destId="{AF3BE7C3-2985-4415-9D0B-2F65AF079E16}" srcOrd="0" destOrd="0" presId="urn:microsoft.com/office/officeart/2008/layout/VerticalCurvedList"/>
    <dgm:cxn modelId="{205C789C-0234-453D-AF7E-AF01CF95E2E5}" type="presParOf" srcId="{AF3BE7C3-2985-4415-9D0B-2F65AF079E16}" destId="{B8E1FF46-CB5B-48BB-B0D3-66A611B189BB}" srcOrd="0" destOrd="0" presId="urn:microsoft.com/office/officeart/2008/layout/VerticalCurvedList"/>
    <dgm:cxn modelId="{B6AEA63C-22F4-41E4-A844-7A94464FCF89}" type="presParOf" srcId="{B8E1FF46-CB5B-48BB-B0D3-66A611B189BB}" destId="{0C895D8E-38E2-4A7E-AC09-03C9782BA739}" srcOrd="0" destOrd="0" presId="urn:microsoft.com/office/officeart/2008/layout/VerticalCurvedList"/>
    <dgm:cxn modelId="{528F882B-796A-4E7A-BAD2-C3C0039EDE8B}" type="presParOf" srcId="{B8E1FF46-CB5B-48BB-B0D3-66A611B189BB}" destId="{B174ABE9-A050-4132-B764-2DB3DD441ED1}" srcOrd="1" destOrd="0" presId="urn:microsoft.com/office/officeart/2008/layout/VerticalCurvedList"/>
    <dgm:cxn modelId="{2EF4A755-CFE2-4B4A-82A0-20CBC784B42D}" type="presParOf" srcId="{B8E1FF46-CB5B-48BB-B0D3-66A611B189BB}" destId="{5DE1571F-130B-49E5-B821-F3793FDD4973}" srcOrd="2" destOrd="0" presId="urn:microsoft.com/office/officeart/2008/layout/VerticalCurvedList"/>
    <dgm:cxn modelId="{2434673C-716C-4F96-9F5E-1658B64FC95E}" type="presParOf" srcId="{B8E1FF46-CB5B-48BB-B0D3-66A611B189BB}" destId="{211AEB76-CDD2-4918-97A2-8472F9DDE20F}" srcOrd="3" destOrd="0" presId="urn:microsoft.com/office/officeart/2008/layout/VerticalCurvedList"/>
    <dgm:cxn modelId="{71F13DBA-5831-4F9C-8C85-B035FE4AABE7}" type="presParOf" srcId="{AF3BE7C3-2985-4415-9D0B-2F65AF079E16}" destId="{7F8EF875-57B6-4E4C-8A10-BE7EFCBC0BB1}" srcOrd="1" destOrd="0" presId="urn:microsoft.com/office/officeart/2008/layout/VerticalCurvedList"/>
    <dgm:cxn modelId="{33E8F5C2-92CA-4178-96C6-A6C0C0793804}" type="presParOf" srcId="{AF3BE7C3-2985-4415-9D0B-2F65AF079E16}" destId="{81004FDC-1A1C-4B3D-A460-48B6D4845BB2}" srcOrd="2" destOrd="0" presId="urn:microsoft.com/office/officeart/2008/layout/VerticalCurvedList"/>
    <dgm:cxn modelId="{71A933D5-46B9-4830-BD5D-7809E28E4DF4}" type="presParOf" srcId="{81004FDC-1A1C-4B3D-A460-48B6D4845BB2}" destId="{45136930-ACDF-4779-AE31-B5F03FB4B4B6}" srcOrd="0" destOrd="0" presId="urn:microsoft.com/office/officeart/2008/layout/VerticalCurvedList"/>
    <dgm:cxn modelId="{44846E39-CE21-4239-A143-5406EA08AEBE}" type="presParOf" srcId="{AF3BE7C3-2985-4415-9D0B-2F65AF079E16}" destId="{DC0C79C8-7B68-44F8-B7EB-69A481F56589}" srcOrd="3" destOrd="0" presId="urn:microsoft.com/office/officeart/2008/layout/VerticalCurvedList"/>
    <dgm:cxn modelId="{68CE241C-6408-4B98-B04F-1F0B71B705CA}" type="presParOf" srcId="{AF3BE7C3-2985-4415-9D0B-2F65AF079E16}" destId="{68BB1330-F934-4633-B3DE-DD58854033CF}" srcOrd="4" destOrd="0" presId="urn:microsoft.com/office/officeart/2008/layout/VerticalCurvedList"/>
    <dgm:cxn modelId="{6B3E3956-0831-4A0B-9DEE-C41B7D4EB447}" type="presParOf" srcId="{68BB1330-F934-4633-B3DE-DD58854033CF}" destId="{D8D3E725-9B4B-48E5-99C8-667D022BB3CA}" srcOrd="0" destOrd="0" presId="urn:microsoft.com/office/officeart/2008/layout/VerticalCurvedList"/>
    <dgm:cxn modelId="{72E846F3-97F4-42F0-A840-9D2E62A38EE8}" type="presParOf" srcId="{AF3BE7C3-2985-4415-9D0B-2F65AF079E16}" destId="{E21CBD4C-C2A2-4BD1-A543-F2B7DF284220}" srcOrd="5" destOrd="0" presId="urn:microsoft.com/office/officeart/2008/layout/VerticalCurvedList"/>
    <dgm:cxn modelId="{82FED57B-1B59-4263-AAE8-985FA4104BD6}" type="presParOf" srcId="{AF3BE7C3-2985-4415-9D0B-2F65AF079E16}" destId="{3DAF5FB5-C8DC-40D8-9182-7C42AAECB3A7}" srcOrd="6" destOrd="0" presId="urn:microsoft.com/office/officeart/2008/layout/VerticalCurvedList"/>
    <dgm:cxn modelId="{DA421B71-B101-4629-BF40-071362FDEF81}" type="presParOf" srcId="{3DAF5FB5-C8DC-40D8-9182-7C42AAECB3A7}" destId="{5A511229-F29A-4B4B-994A-F1410CE29813}"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174ABE9-A050-4132-B764-2DB3DD441ED1}">
      <dsp:nvSpPr>
        <dsp:cNvPr id="0" name=""/>
        <dsp:cNvSpPr/>
      </dsp:nvSpPr>
      <dsp:spPr>
        <a:xfrm>
          <a:off x="-5788111" y="-886077"/>
          <a:ext cx="6892371" cy="6892371"/>
        </a:xfrm>
        <a:prstGeom prst="blockArc">
          <a:avLst>
            <a:gd name="adj1" fmla="val 18900000"/>
            <a:gd name="adj2" fmla="val 2700000"/>
            <a:gd name="adj3" fmla="val 313"/>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F8EF875-57B6-4E4C-8A10-BE7EFCBC0BB1}">
      <dsp:nvSpPr>
        <dsp:cNvPr id="0" name=""/>
        <dsp:cNvSpPr/>
      </dsp:nvSpPr>
      <dsp:spPr>
        <a:xfrm>
          <a:off x="710686" y="512021"/>
          <a:ext cx="6898979" cy="1024043"/>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12834" tIns="81280" rIns="81280" bIns="81280" numCol="1" spcCol="1270" anchor="ctr" anchorCtr="0">
          <a:noAutofit/>
        </a:bodyPr>
        <a:lstStyle/>
        <a:p>
          <a:pPr marL="0" lvl="0" indent="0" algn="l" defTabSz="1422400">
            <a:lnSpc>
              <a:spcPct val="90000"/>
            </a:lnSpc>
            <a:spcBef>
              <a:spcPct val="0"/>
            </a:spcBef>
            <a:spcAft>
              <a:spcPct val="35000"/>
            </a:spcAft>
            <a:buClrTx/>
            <a:buSzTx/>
            <a:buFont typeface="Arial" panose="020B0604020202020204" pitchFamily="34" charset="0"/>
            <a:buNone/>
          </a:pPr>
          <a:r>
            <a:rPr lang="de-DE" sz="3200" b="0" i="0" u="none" kern="1200" dirty="0" err="1">
              <a:solidFill>
                <a:schemeClr val="tx1"/>
              </a:solidFill>
              <a:latin typeface="Arial" panose="020B0604020202020204" pitchFamily="34" charset="0"/>
            </a:rPr>
            <a:t>Cybersecurity</a:t>
          </a:r>
          <a:r>
            <a:rPr lang="de-DE" sz="3200" b="0" i="0" u="none" kern="1200" dirty="0">
              <a:solidFill>
                <a:schemeClr val="tx1"/>
              </a:solidFill>
              <a:latin typeface="Arial" panose="020B0604020202020204" pitchFamily="34" charset="0"/>
            </a:rPr>
            <a:t> </a:t>
          </a:r>
          <a:r>
            <a:rPr lang="de-DE" sz="3200" b="0" i="0" u="none" kern="1200" dirty="0" err="1">
              <a:solidFill>
                <a:schemeClr val="tx1"/>
              </a:solidFill>
              <a:latin typeface="Arial" panose="020B0604020202020204" pitchFamily="34" charset="0"/>
            </a:rPr>
            <a:t>Threats</a:t>
          </a:r>
          <a:r>
            <a:rPr lang="de-DE" sz="3200" b="0" i="0" u="none" kern="1200" dirty="0">
              <a:solidFill>
                <a:schemeClr val="tx1"/>
              </a:solidFill>
              <a:latin typeface="Arial" panose="020B0604020202020204" pitchFamily="34" charset="0"/>
            </a:rPr>
            <a:t> and </a:t>
          </a:r>
          <a:r>
            <a:rPr lang="de-DE" sz="3200" b="0" i="0" u="none" kern="1200" dirty="0" err="1">
              <a:solidFill>
                <a:schemeClr val="tx1"/>
              </a:solidFill>
              <a:latin typeface="Arial" panose="020B0604020202020204" pitchFamily="34" charset="0"/>
            </a:rPr>
            <a:t>Risks</a:t>
          </a:r>
          <a:r>
            <a:rPr lang="de-DE" sz="3200" b="0" i="0" u="none" kern="1200" dirty="0">
              <a:solidFill>
                <a:schemeClr val="tx1"/>
              </a:solidFill>
              <a:latin typeface="Arial" panose="020B0604020202020204" pitchFamily="34" charset="0"/>
            </a:rPr>
            <a:t> </a:t>
          </a:r>
          <a:r>
            <a:rPr lang="de-DE" sz="3200" b="0" i="0" u="none" kern="1200" dirty="0" err="1">
              <a:solidFill>
                <a:schemeClr val="tx1"/>
              </a:solidFill>
              <a:latin typeface="Arial" panose="020B0604020202020204" pitchFamily="34" charset="0"/>
            </a:rPr>
            <a:t>for</a:t>
          </a:r>
          <a:r>
            <a:rPr lang="de-DE" sz="3200" b="0" i="0" u="none" kern="1200" dirty="0">
              <a:solidFill>
                <a:schemeClr val="tx1"/>
              </a:solidFill>
              <a:latin typeface="Arial" panose="020B0604020202020204" pitchFamily="34" charset="0"/>
            </a:rPr>
            <a:t> SDVs</a:t>
          </a:r>
          <a:endParaRPr lang="en-US" sz="3200" kern="1200" dirty="0">
            <a:solidFill>
              <a:schemeClr val="tx1"/>
            </a:solidFill>
          </a:endParaRPr>
        </a:p>
      </dsp:txBody>
      <dsp:txXfrm>
        <a:off x="710686" y="512021"/>
        <a:ext cx="6898979" cy="1024043"/>
      </dsp:txXfrm>
    </dsp:sp>
    <dsp:sp modelId="{45136930-ACDF-4779-AE31-B5F03FB4B4B6}">
      <dsp:nvSpPr>
        <dsp:cNvPr id="0" name=""/>
        <dsp:cNvSpPr/>
      </dsp:nvSpPr>
      <dsp:spPr>
        <a:xfrm>
          <a:off x="70658" y="384016"/>
          <a:ext cx="1280054" cy="1280054"/>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DC0C79C8-7B68-44F8-B7EB-69A481F56589}">
      <dsp:nvSpPr>
        <dsp:cNvPr id="0" name=""/>
        <dsp:cNvSpPr/>
      </dsp:nvSpPr>
      <dsp:spPr>
        <a:xfrm>
          <a:off x="1082925" y="2048086"/>
          <a:ext cx="6526740" cy="1024043"/>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12834" tIns="81280" rIns="81280" bIns="81280" numCol="1" spcCol="1270" anchor="ctr" anchorCtr="0">
          <a:noAutofit/>
        </a:bodyPr>
        <a:lstStyle/>
        <a:p>
          <a:pPr marL="0" lvl="0" indent="0" algn="l" defTabSz="1422400">
            <a:lnSpc>
              <a:spcPct val="90000"/>
            </a:lnSpc>
            <a:spcBef>
              <a:spcPct val="0"/>
            </a:spcBef>
            <a:spcAft>
              <a:spcPct val="35000"/>
            </a:spcAft>
            <a:buClrTx/>
            <a:buSzTx/>
            <a:buFont typeface="Arial" panose="020B0604020202020204" pitchFamily="34" charset="0"/>
            <a:buNone/>
          </a:pPr>
          <a:r>
            <a:rPr lang="en-US" sz="3200" kern="1200" dirty="0">
              <a:solidFill>
                <a:schemeClr val="tx1"/>
              </a:solidFill>
            </a:rPr>
            <a:t>International Regulatory Developments</a:t>
          </a:r>
        </a:p>
      </dsp:txBody>
      <dsp:txXfrm>
        <a:off x="1082925" y="2048086"/>
        <a:ext cx="6526740" cy="1024043"/>
      </dsp:txXfrm>
    </dsp:sp>
    <dsp:sp modelId="{D8D3E725-9B4B-48E5-99C8-667D022BB3CA}">
      <dsp:nvSpPr>
        <dsp:cNvPr id="0" name=""/>
        <dsp:cNvSpPr/>
      </dsp:nvSpPr>
      <dsp:spPr>
        <a:xfrm>
          <a:off x="442898" y="1920081"/>
          <a:ext cx="1280054" cy="1280054"/>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E21CBD4C-C2A2-4BD1-A543-F2B7DF284220}">
      <dsp:nvSpPr>
        <dsp:cNvPr id="0" name=""/>
        <dsp:cNvSpPr/>
      </dsp:nvSpPr>
      <dsp:spPr>
        <a:xfrm>
          <a:off x="710686" y="3584151"/>
          <a:ext cx="6898979" cy="1024043"/>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12834" tIns="81280" rIns="81280" bIns="81280" numCol="1" spcCol="1270" anchor="ctr" anchorCtr="0">
          <a:noAutofit/>
        </a:bodyPr>
        <a:lstStyle/>
        <a:p>
          <a:pPr marL="0" lvl="0" indent="0" algn="l" defTabSz="1422400">
            <a:lnSpc>
              <a:spcPct val="90000"/>
            </a:lnSpc>
            <a:spcBef>
              <a:spcPct val="0"/>
            </a:spcBef>
            <a:spcAft>
              <a:spcPct val="35000"/>
            </a:spcAft>
            <a:buNone/>
          </a:pPr>
          <a:r>
            <a:rPr lang="de-DE" sz="3200" b="0" i="0" u="none" kern="1200" dirty="0">
              <a:solidFill>
                <a:schemeClr val="tx1"/>
              </a:solidFill>
            </a:rPr>
            <a:t>PQC (Post-Quantum </a:t>
          </a:r>
          <a:r>
            <a:rPr lang="de-DE" sz="3200" b="0" i="0" u="none" kern="1200" dirty="0" err="1">
              <a:solidFill>
                <a:schemeClr val="tx1"/>
              </a:solidFill>
            </a:rPr>
            <a:t>Cryptography</a:t>
          </a:r>
          <a:r>
            <a:rPr lang="de-DE" sz="3200" b="0" i="0" u="none" kern="1200" dirty="0">
              <a:solidFill>
                <a:schemeClr val="tx1"/>
              </a:solidFill>
            </a:rPr>
            <a:t>)</a:t>
          </a:r>
          <a:endParaRPr lang="en-US" sz="3200" kern="1200" dirty="0">
            <a:solidFill>
              <a:schemeClr val="tx1"/>
            </a:solidFill>
          </a:endParaRPr>
        </a:p>
      </dsp:txBody>
      <dsp:txXfrm>
        <a:off x="710686" y="3584151"/>
        <a:ext cx="6898979" cy="1024043"/>
      </dsp:txXfrm>
    </dsp:sp>
    <dsp:sp modelId="{5A511229-F29A-4B4B-994A-F1410CE29813}">
      <dsp:nvSpPr>
        <dsp:cNvPr id="0" name=""/>
        <dsp:cNvSpPr/>
      </dsp:nvSpPr>
      <dsp:spPr>
        <a:xfrm>
          <a:off x="70658" y="3456146"/>
          <a:ext cx="1280054" cy="1280054"/>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174ABE9-A050-4132-B764-2DB3DD441ED1}">
      <dsp:nvSpPr>
        <dsp:cNvPr id="0" name=""/>
        <dsp:cNvSpPr/>
      </dsp:nvSpPr>
      <dsp:spPr>
        <a:xfrm>
          <a:off x="-5788111" y="-886077"/>
          <a:ext cx="6892371" cy="6892371"/>
        </a:xfrm>
        <a:prstGeom prst="blockArc">
          <a:avLst>
            <a:gd name="adj1" fmla="val 18900000"/>
            <a:gd name="adj2" fmla="val 2700000"/>
            <a:gd name="adj3" fmla="val 313"/>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F8EF875-57B6-4E4C-8A10-BE7EFCBC0BB1}">
      <dsp:nvSpPr>
        <dsp:cNvPr id="0" name=""/>
        <dsp:cNvSpPr/>
      </dsp:nvSpPr>
      <dsp:spPr>
        <a:xfrm>
          <a:off x="710686" y="512021"/>
          <a:ext cx="6898979" cy="1024043"/>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12834" tIns="81280" rIns="81280" bIns="81280" numCol="1" spcCol="1270" anchor="ctr" anchorCtr="0">
          <a:noAutofit/>
        </a:bodyPr>
        <a:lstStyle/>
        <a:p>
          <a:pPr marL="0" lvl="0" indent="0" algn="l" defTabSz="1422400">
            <a:lnSpc>
              <a:spcPct val="90000"/>
            </a:lnSpc>
            <a:spcBef>
              <a:spcPct val="0"/>
            </a:spcBef>
            <a:spcAft>
              <a:spcPct val="35000"/>
            </a:spcAft>
            <a:buClrTx/>
            <a:buSzTx/>
            <a:buFont typeface="Arial" panose="020B0604020202020204" pitchFamily="34" charset="0"/>
            <a:buNone/>
          </a:pPr>
          <a:r>
            <a:rPr lang="de-DE" sz="3200" b="0" i="0" u="none" kern="1200" dirty="0" err="1">
              <a:solidFill>
                <a:schemeClr val="tx1"/>
              </a:solidFill>
              <a:latin typeface="Arial" panose="020B0604020202020204" pitchFamily="34" charset="0"/>
            </a:rPr>
            <a:t>Cybersecurity</a:t>
          </a:r>
          <a:r>
            <a:rPr lang="de-DE" sz="3200" b="0" i="0" u="none" kern="1200" dirty="0">
              <a:solidFill>
                <a:schemeClr val="tx1"/>
              </a:solidFill>
              <a:latin typeface="Arial" panose="020B0604020202020204" pitchFamily="34" charset="0"/>
            </a:rPr>
            <a:t> </a:t>
          </a:r>
          <a:r>
            <a:rPr lang="de-DE" sz="3200" b="0" i="0" u="none" kern="1200" dirty="0" err="1">
              <a:solidFill>
                <a:schemeClr val="tx1"/>
              </a:solidFill>
              <a:latin typeface="Arial" panose="020B0604020202020204" pitchFamily="34" charset="0"/>
            </a:rPr>
            <a:t>Threats</a:t>
          </a:r>
          <a:r>
            <a:rPr lang="de-DE" sz="3200" b="0" i="0" u="none" kern="1200" dirty="0">
              <a:solidFill>
                <a:schemeClr val="tx1"/>
              </a:solidFill>
              <a:latin typeface="Arial" panose="020B0604020202020204" pitchFamily="34" charset="0"/>
            </a:rPr>
            <a:t> and </a:t>
          </a:r>
          <a:r>
            <a:rPr lang="de-DE" sz="3200" b="0" i="0" u="none" kern="1200" dirty="0" err="1">
              <a:solidFill>
                <a:schemeClr val="tx1"/>
              </a:solidFill>
              <a:latin typeface="Arial" panose="020B0604020202020204" pitchFamily="34" charset="0"/>
            </a:rPr>
            <a:t>Risks</a:t>
          </a:r>
          <a:r>
            <a:rPr lang="de-DE" sz="3200" b="0" i="0" u="none" kern="1200" dirty="0">
              <a:solidFill>
                <a:schemeClr val="tx1"/>
              </a:solidFill>
              <a:latin typeface="Arial" panose="020B0604020202020204" pitchFamily="34" charset="0"/>
            </a:rPr>
            <a:t> </a:t>
          </a:r>
          <a:r>
            <a:rPr lang="de-DE" sz="3200" b="0" i="0" u="none" kern="1200" dirty="0" err="1">
              <a:solidFill>
                <a:schemeClr val="tx1"/>
              </a:solidFill>
              <a:latin typeface="Arial" panose="020B0604020202020204" pitchFamily="34" charset="0"/>
            </a:rPr>
            <a:t>for</a:t>
          </a:r>
          <a:r>
            <a:rPr lang="de-DE" sz="3200" b="0" i="0" u="none" kern="1200" dirty="0">
              <a:solidFill>
                <a:schemeClr val="tx1"/>
              </a:solidFill>
              <a:latin typeface="Arial" panose="020B0604020202020204" pitchFamily="34" charset="0"/>
            </a:rPr>
            <a:t> SDVs</a:t>
          </a:r>
          <a:endParaRPr lang="en-US" sz="3200" kern="1200" dirty="0">
            <a:solidFill>
              <a:schemeClr val="tx1"/>
            </a:solidFill>
          </a:endParaRPr>
        </a:p>
      </dsp:txBody>
      <dsp:txXfrm>
        <a:off x="710686" y="512021"/>
        <a:ext cx="6898979" cy="1024043"/>
      </dsp:txXfrm>
    </dsp:sp>
    <dsp:sp modelId="{45136930-ACDF-4779-AE31-B5F03FB4B4B6}">
      <dsp:nvSpPr>
        <dsp:cNvPr id="0" name=""/>
        <dsp:cNvSpPr/>
      </dsp:nvSpPr>
      <dsp:spPr>
        <a:xfrm>
          <a:off x="70658" y="384016"/>
          <a:ext cx="1280054" cy="1280054"/>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DC0C79C8-7B68-44F8-B7EB-69A481F56589}">
      <dsp:nvSpPr>
        <dsp:cNvPr id="0" name=""/>
        <dsp:cNvSpPr/>
      </dsp:nvSpPr>
      <dsp:spPr>
        <a:xfrm>
          <a:off x="1082925" y="2048086"/>
          <a:ext cx="6526740" cy="1024043"/>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12834" tIns="81280" rIns="81280" bIns="81280" numCol="1" spcCol="1270" anchor="ctr" anchorCtr="0">
          <a:noAutofit/>
        </a:bodyPr>
        <a:lstStyle/>
        <a:p>
          <a:pPr marL="0" lvl="0" indent="0" algn="l" defTabSz="1422400">
            <a:lnSpc>
              <a:spcPct val="90000"/>
            </a:lnSpc>
            <a:spcBef>
              <a:spcPct val="0"/>
            </a:spcBef>
            <a:spcAft>
              <a:spcPct val="35000"/>
            </a:spcAft>
            <a:buClrTx/>
            <a:buSzTx/>
            <a:buFont typeface="Arial" panose="020B0604020202020204" pitchFamily="34" charset="0"/>
            <a:buNone/>
          </a:pPr>
          <a:r>
            <a:rPr lang="en-US" sz="3200" kern="1200" dirty="0">
              <a:solidFill>
                <a:schemeClr val="bg1">
                  <a:lumMod val="85000"/>
                </a:schemeClr>
              </a:solidFill>
            </a:rPr>
            <a:t>International Regulatory Developments</a:t>
          </a:r>
        </a:p>
      </dsp:txBody>
      <dsp:txXfrm>
        <a:off x="1082925" y="2048086"/>
        <a:ext cx="6526740" cy="1024043"/>
      </dsp:txXfrm>
    </dsp:sp>
    <dsp:sp modelId="{D8D3E725-9B4B-48E5-99C8-667D022BB3CA}">
      <dsp:nvSpPr>
        <dsp:cNvPr id="0" name=""/>
        <dsp:cNvSpPr/>
      </dsp:nvSpPr>
      <dsp:spPr>
        <a:xfrm>
          <a:off x="442898" y="1920081"/>
          <a:ext cx="1280054" cy="1280054"/>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E79CDA4C-A7F1-4BB4-A5A5-FE59E669DC34}">
      <dsp:nvSpPr>
        <dsp:cNvPr id="0" name=""/>
        <dsp:cNvSpPr/>
      </dsp:nvSpPr>
      <dsp:spPr>
        <a:xfrm>
          <a:off x="710686" y="3584151"/>
          <a:ext cx="6898979" cy="1024043"/>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12834" tIns="81280" rIns="81280" bIns="81280" numCol="1" spcCol="1270" anchor="ctr" anchorCtr="0">
          <a:noAutofit/>
        </a:bodyPr>
        <a:lstStyle/>
        <a:p>
          <a:pPr marL="0" lvl="0" indent="0" algn="l" defTabSz="1422400">
            <a:lnSpc>
              <a:spcPct val="90000"/>
            </a:lnSpc>
            <a:spcBef>
              <a:spcPct val="0"/>
            </a:spcBef>
            <a:spcAft>
              <a:spcPct val="35000"/>
            </a:spcAft>
            <a:buNone/>
          </a:pPr>
          <a:r>
            <a:rPr lang="de-DE" sz="3200" b="0" i="0" u="none" kern="1200" dirty="0">
              <a:solidFill>
                <a:schemeClr val="bg1">
                  <a:lumMod val="85000"/>
                </a:schemeClr>
              </a:solidFill>
            </a:rPr>
            <a:t>PQC (Post-Quantum </a:t>
          </a:r>
          <a:r>
            <a:rPr lang="de-DE" sz="3200" b="0" i="0" u="none" kern="1200" dirty="0" err="1">
              <a:solidFill>
                <a:schemeClr val="bg1">
                  <a:lumMod val="85000"/>
                </a:schemeClr>
              </a:solidFill>
            </a:rPr>
            <a:t>Cryptography</a:t>
          </a:r>
          <a:r>
            <a:rPr lang="de-DE" sz="3200" b="0" i="0" u="none" kern="1200" dirty="0">
              <a:solidFill>
                <a:schemeClr val="bg1">
                  <a:lumMod val="85000"/>
                </a:schemeClr>
              </a:solidFill>
            </a:rPr>
            <a:t>)</a:t>
          </a:r>
          <a:endParaRPr lang="en-US" sz="3200" kern="1200" dirty="0">
            <a:solidFill>
              <a:schemeClr val="bg1">
                <a:lumMod val="85000"/>
              </a:schemeClr>
            </a:solidFill>
          </a:endParaRPr>
        </a:p>
      </dsp:txBody>
      <dsp:txXfrm>
        <a:off x="710686" y="3584151"/>
        <a:ext cx="6898979" cy="1024043"/>
      </dsp:txXfrm>
    </dsp:sp>
    <dsp:sp modelId="{A459FD3A-FC5F-43AA-A00B-1CC12C6E54CA}">
      <dsp:nvSpPr>
        <dsp:cNvPr id="0" name=""/>
        <dsp:cNvSpPr/>
      </dsp:nvSpPr>
      <dsp:spPr>
        <a:xfrm>
          <a:off x="70658" y="3456146"/>
          <a:ext cx="1280054" cy="1280054"/>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174ABE9-A050-4132-B764-2DB3DD441ED1}">
      <dsp:nvSpPr>
        <dsp:cNvPr id="0" name=""/>
        <dsp:cNvSpPr/>
      </dsp:nvSpPr>
      <dsp:spPr>
        <a:xfrm>
          <a:off x="-5788111" y="-886077"/>
          <a:ext cx="6892371" cy="6892371"/>
        </a:xfrm>
        <a:prstGeom prst="blockArc">
          <a:avLst>
            <a:gd name="adj1" fmla="val 18900000"/>
            <a:gd name="adj2" fmla="val 2700000"/>
            <a:gd name="adj3" fmla="val 313"/>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F8EF875-57B6-4E4C-8A10-BE7EFCBC0BB1}">
      <dsp:nvSpPr>
        <dsp:cNvPr id="0" name=""/>
        <dsp:cNvSpPr/>
      </dsp:nvSpPr>
      <dsp:spPr>
        <a:xfrm>
          <a:off x="710686" y="512021"/>
          <a:ext cx="6898979" cy="1024043"/>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12834" tIns="81280" rIns="81280" bIns="81280" numCol="1" spcCol="1270" anchor="ctr" anchorCtr="0">
          <a:noAutofit/>
        </a:bodyPr>
        <a:lstStyle/>
        <a:p>
          <a:pPr marL="0" lvl="0" indent="0" algn="l" defTabSz="1422400">
            <a:lnSpc>
              <a:spcPct val="90000"/>
            </a:lnSpc>
            <a:spcBef>
              <a:spcPct val="0"/>
            </a:spcBef>
            <a:spcAft>
              <a:spcPct val="35000"/>
            </a:spcAft>
            <a:buClrTx/>
            <a:buSzTx/>
            <a:buFont typeface="Arial" panose="020B0604020202020204" pitchFamily="34" charset="0"/>
            <a:buNone/>
          </a:pPr>
          <a:r>
            <a:rPr lang="de-DE" sz="3200" b="0" i="0" u="none" kern="1200" dirty="0" err="1">
              <a:solidFill>
                <a:schemeClr val="bg1">
                  <a:lumMod val="85000"/>
                </a:schemeClr>
              </a:solidFill>
              <a:latin typeface="Arial" panose="020B0604020202020204" pitchFamily="34" charset="0"/>
            </a:rPr>
            <a:t>Cybersecurity</a:t>
          </a:r>
          <a:r>
            <a:rPr lang="de-DE" sz="3200" b="0" i="0" u="none" kern="1200" dirty="0">
              <a:solidFill>
                <a:schemeClr val="bg1">
                  <a:lumMod val="85000"/>
                </a:schemeClr>
              </a:solidFill>
              <a:latin typeface="Arial" panose="020B0604020202020204" pitchFamily="34" charset="0"/>
            </a:rPr>
            <a:t> </a:t>
          </a:r>
          <a:r>
            <a:rPr lang="de-DE" sz="3200" b="0" i="0" u="none" kern="1200" dirty="0" err="1">
              <a:solidFill>
                <a:schemeClr val="bg1">
                  <a:lumMod val="85000"/>
                </a:schemeClr>
              </a:solidFill>
              <a:latin typeface="Arial" panose="020B0604020202020204" pitchFamily="34" charset="0"/>
            </a:rPr>
            <a:t>Threats</a:t>
          </a:r>
          <a:r>
            <a:rPr lang="de-DE" sz="3200" b="0" i="0" u="none" kern="1200" dirty="0">
              <a:solidFill>
                <a:schemeClr val="bg1">
                  <a:lumMod val="85000"/>
                </a:schemeClr>
              </a:solidFill>
              <a:latin typeface="Arial" panose="020B0604020202020204" pitchFamily="34" charset="0"/>
            </a:rPr>
            <a:t> and </a:t>
          </a:r>
          <a:r>
            <a:rPr lang="de-DE" sz="3200" b="0" i="0" u="none" kern="1200" dirty="0" err="1">
              <a:solidFill>
                <a:schemeClr val="bg1">
                  <a:lumMod val="85000"/>
                </a:schemeClr>
              </a:solidFill>
              <a:latin typeface="Arial" panose="020B0604020202020204" pitchFamily="34" charset="0"/>
            </a:rPr>
            <a:t>Risks</a:t>
          </a:r>
          <a:r>
            <a:rPr lang="de-DE" sz="3200" b="0" i="0" u="none" kern="1200" dirty="0">
              <a:solidFill>
                <a:schemeClr val="bg1">
                  <a:lumMod val="85000"/>
                </a:schemeClr>
              </a:solidFill>
              <a:latin typeface="Arial" panose="020B0604020202020204" pitchFamily="34" charset="0"/>
            </a:rPr>
            <a:t> </a:t>
          </a:r>
          <a:r>
            <a:rPr lang="de-DE" sz="3200" b="0" i="0" u="none" kern="1200" dirty="0" err="1">
              <a:solidFill>
                <a:schemeClr val="bg1">
                  <a:lumMod val="85000"/>
                </a:schemeClr>
              </a:solidFill>
              <a:latin typeface="Arial" panose="020B0604020202020204" pitchFamily="34" charset="0"/>
            </a:rPr>
            <a:t>for</a:t>
          </a:r>
          <a:r>
            <a:rPr lang="de-DE" sz="3200" b="0" i="0" u="none" kern="1200" dirty="0">
              <a:solidFill>
                <a:schemeClr val="bg1">
                  <a:lumMod val="85000"/>
                </a:schemeClr>
              </a:solidFill>
              <a:latin typeface="Arial" panose="020B0604020202020204" pitchFamily="34" charset="0"/>
            </a:rPr>
            <a:t> SDVs</a:t>
          </a:r>
          <a:endParaRPr lang="en-US" sz="3200" kern="1200" dirty="0">
            <a:solidFill>
              <a:schemeClr val="bg1">
                <a:lumMod val="85000"/>
              </a:schemeClr>
            </a:solidFill>
          </a:endParaRPr>
        </a:p>
      </dsp:txBody>
      <dsp:txXfrm>
        <a:off x="710686" y="512021"/>
        <a:ext cx="6898979" cy="1024043"/>
      </dsp:txXfrm>
    </dsp:sp>
    <dsp:sp modelId="{45136930-ACDF-4779-AE31-B5F03FB4B4B6}">
      <dsp:nvSpPr>
        <dsp:cNvPr id="0" name=""/>
        <dsp:cNvSpPr/>
      </dsp:nvSpPr>
      <dsp:spPr>
        <a:xfrm>
          <a:off x="70658" y="384016"/>
          <a:ext cx="1280054" cy="1280054"/>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DC0C79C8-7B68-44F8-B7EB-69A481F56589}">
      <dsp:nvSpPr>
        <dsp:cNvPr id="0" name=""/>
        <dsp:cNvSpPr/>
      </dsp:nvSpPr>
      <dsp:spPr>
        <a:xfrm>
          <a:off x="1082925" y="2048086"/>
          <a:ext cx="6526740" cy="1024043"/>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12834" tIns="81280" rIns="81280" bIns="81280" numCol="1" spcCol="1270" anchor="ctr" anchorCtr="0">
          <a:noAutofit/>
        </a:bodyPr>
        <a:lstStyle/>
        <a:p>
          <a:pPr marL="0" lvl="0" indent="0" algn="l" defTabSz="1422400">
            <a:lnSpc>
              <a:spcPct val="90000"/>
            </a:lnSpc>
            <a:spcBef>
              <a:spcPct val="0"/>
            </a:spcBef>
            <a:spcAft>
              <a:spcPct val="35000"/>
            </a:spcAft>
            <a:buClrTx/>
            <a:buSzTx/>
            <a:buFont typeface="Arial" panose="020B0604020202020204" pitchFamily="34" charset="0"/>
            <a:buNone/>
          </a:pPr>
          <a:r>
            <a:rPr lang="en-US" sz="3200" kern="1200" dirty="0">
              <a:solidFill>
                <a:schemeClr val="tx1"/>
              </a:solidFill>
            </a:rPr>
            <a:t>International Regulatory Developments</a:t>
          </a:r>
        </a:p>
      </dsp:txBody>
      <dsp:txXfrm>
        <a:off x="1082925" y="2048086"/>
        <a:ext cx="6526740" cy="1024043"/>
      </dsp:txXfrm>
    </dsp:sp>
    <dsp:sp modelId="{D8D3E725-9B4B-48E5-99C8-667D022BB3CA}">
      <dsp:nvSpPr>
        <dsp:cNvPr id="0" name=""/>
        <dsp:cNvSpPr/>
      </dsp:nvSpPr>
      <dsp:spPr>
        <a:xfrm>
          <a:off x="442898" y="1920081"/>
          <a:ext cx="1280054" cy="1280054"/>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E21CBD4C-C2A2-4BD1-A543-F2B7DF284220}">
      <dsp:nvSpPr>
        <dsp:cNvPr id="0" name=""/>
        <dsp:cNvSpPr/>
      </dsp:nvSpPr>
      <dsp:spPr>
        <a:xfrm>
          <a:off x="710686" y="3584151"/>
          <a:ext cx="6898979" cy="1024043"/>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12834" tIns="81280" rIns="81280" bIns="81280" numCol="1" spcCol="1270" anchor="ctr" anchorCtr="0">
          <a:noAutofit/>
        </a:bodyPr>
        <a:lstStyle/>
        <a:p>
          <a:pPr marL="0" lvl="0" indent="0" algn="l" defTabSz="1422400">
            <a:lnSpc>
              <a:spcPct val="90000"/>
            </a:lnSpc>
            <a:spcBef>
              <a:spcPct val="0"/>
            </a:spcBef>
            <a:spcAft>
              <a:spcPct val="35000"/>
            </a:spcAft>
            <a:buNone/>
          </a:pPr>
          <a:r>
            <a:rPr lang="de-DE" sz="3200" b="0" i="0" u="none" kern="1200" dirty="0">
              <a:solidFill>
                <a:schemeClr val="bg1">
                  <a:lumMod val="85000"/>
                </a:schemeClr>
              </a:solidFill>
            </a:rPr>
            <a:t>PQC (Post-Quantum </a:t>
          </a:r>
          <a:r>
            <a:rPr lang="de-DE" sz="3200" b="0" i="0" u="none" kern="1200" dirty="0" err="1">
              <a:solidFill>
                <a:schemeClr val="bg1">
                  <a:lumMod val="85000"/>
                </a:schemeClr>
              </a:solidFill>
            </a:rPr>
            <a:t>Cryptography</a:t>
          </a:r>
          <a:r>
            <a:rPr lang="de-DE" sz="3200" b="0" i="0" u="none" kern="1200" dirty="0">
              <a:solidFill>
                <a:schemeClr val="bg1">
                  <a:lumMod val="85000"/>
                </a:schemeClr>
              </a:solidFill>
            </a:rPr>
            <a:t>)</a:t>
          </a:r>
          <a:endParaRPr lang="en-US" sz="3200" kern="1200" dirty="0">
            <a:solidFill>
              <a:schemeClr val="bg1">
                <a:lumMod val="85000"/>
              </a:schemeClr>
            </a:solidFill>
          </a:endParaRPr>
        </a:p>
      </dsp:txBody>
      <dsp:txXfrm>
        <a:off x="710686" y="3584151"/>
        <a:ext cx="6898979" cy="1024043"/>
      </dsp:txXfrm>
    </dsp:sp>
    <dsp:sp modelId="{5A511229-F29A-4B4B-994A-F1410CE29813}">
      <dsp:nvSpPr>
        <dsp:cNvPr id="0" name=""/>
        <dsp:cNvSpPr/>
      </dsp:nvSpPr>
      <dsp:spPr>
        <a:xfrm>
          <a:off x="70658" y="3456146"/>
          <a:ext cx="1280054" cy="1280054"/>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174ABE9-A050-4132-B764-2DB3DD441ED1}">
      <dsp:nvSpPr>
        <dsp:cNvPr id="0" name=""/>
        <dsp:cNvSpPr/>
      </dsp:nvSpPr>
      <dsp:spPr>
        <a:xfrm>
          <a:off x="-5788111" y="-886077"/>
          <a:ext cx="6892371" cy="6892371"/>
        </a:xfrm>
        <a:prstGeom prst="blockArc">
          <a:avLst>
            <a:gd name="adj1" fmla="val 18900000"/>
            <a:gd name="adj2" fmla="val 2700000"/>
            <a:gd name="adj3" fmla="val 313"/>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F8EF875-57B6-4E4C-8A10-BE7EFCBC0BB1}">
      <dsp:nvSpPr>
        <dsp:cNvPr id="0" name=""/>
        <dsp:cNvSpPr/>
      </dsp:nvSpPr>
      <dsp:spPr>
        <a:xfrm>
          <a:off x="710686" y="512021"/>
          <a:ext cx="6898979" cy="1024043"/>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12834" tIns="81280" rIns="81280" bIns="81280" numCol="1" spcCol="1270" anchor="ctr" anchorCtr="0">
          <a:noAutofit/>
        </a:bodyPr>
        <a:lstStyle/>
        <a:p>
          <a:pPr marL="0" lvl="0" indent="0" algn="l" defTabSz="1422400">
            <a:lnSpc>
              <a:spcPct val="90000"/>
            </a:lnSpc>
            <a:spcBef>
              <a:spcPct val="0"/>
            </a:spcBef>
            <a:spcAft>
              <a:spcPct val="35000"/>
            </a:spcAft>
            <a:buClrTx/>
            <a:buSzTx/>
            <a:buFont typeface="Arial" panose="020B0604020202020204" pitchFamily="34" charset="0"/>
            <a:buNone/>
          </a:pPr>
          <a:r>
            <a:rPr lang="de-DE" sz="3200" b="0" i="0" u="none" kern="1200" dirty="0" err="1">
              <a:solidFill>
                <a:schemeClr val="bg1">
                  <a:lumMod val="85000"/>
                </a:schemeClr>
              </a:solidFill>
              <a:latin typeface="Arial" panose="020B0604020202020204" pitchFamily="34" charset="0"/>
            </a:rPr>
            <a:t>Cybersecurity</a:t>
          </a:r>
          <a:r>
            <a:rPr lang="de-DE" sz="3200" b="0" i="0" u="none" kern="1200" dirty="0">
              <a:solidFill>
                <a:schemeClr val="bg1">
                  <a:lumMod val="85000"/>
                </a:schemeClr>
              </a:solidFill>
              <a:latin typeface="Arial" panose="020B0604020202020204" pitchFamily="34" charset="0"/>
            </a:rPr>
            <a:t> </a:t>
          </a:r>
          <a:r>
            <a:rPr lang="de-DE" sz="3200" b="0" i="0" u="none" kern="1200" dirty="0" err="1">
              <a:solidFill>
                <a:schemeClr val="bg1">
                  <a:lumMod val="85000"/>
                </a:schemeClr>
              </a:solidFill>
              <a:latin typeface="Arial" panose="020B0604020202020204" pitchFamily="34" charset="0"/>
            </a:rPr>
            <a:t>Threats</a:t>
          </a:r>
          <a:r>
            <a:rPr lang="de-DE" sz="3200" b="0" i="0" u="none" kern="1200" dirty="0">
              <a:solidFill>
                <a:schemeClr val="bg1">
                  <a:lumMod val="85000"/>
                </a:schemeClr>
              </a:solidFill>
              <a:latin typeface="Arial" panose="020B0604020202020204" pitchFamily="34" charset="0"/>
            </a:rPr>
            <a:t> and </a:t>
          </a:r>
          <a:r>
            <a:rPr lang="de-DE" sz="3200" b="0" i="0" u="none" kern="1200" dirty="0" err="1">
              <a:solidFill>
                <a:schemeClr val="bg1">
                  <a:lumMod val="85000"/>
                </a:schemeClr>
              </a:solidFill>
              <a:latin typeface="Arial" panose="020B0604020202020204" pitchFamily="34" charset="0"/>
            </a:rPr>
            <a:t>Risks</a:t>
          </a:r>
          <a:r>
            <a:rPr lang="de-DE" sz="3200" b="0" i="0" u="none" kern="1200" dirty="0">
              <a:solidFill>
                <a:schemeClr val="bg1">
                  <a:lumMod val="85000"/>
                </a:schemeClr>
              </a:solidFill>
              <a:latin typeface="Arial" panose="020B0604020202020204" pitchFamily="34" charset="0"/>
            </a:rPr>
            <a:t> </a:t>
          </a:r>
          <a:r>
            <a:rPr lang="de-DE" sz="3200" b="0" i="0" u="none" kern="1200" dirty="0" err="1">
              <a:solidFill>
                <a:schemeClr val="bg1">
                  <a:lumMod val="85000"/>
                </a:schemeClr>
              </a:solidFill>
              <a:latin typeface="Arial" panose="020B0604020202020204" pitchFamily="34" charset="0"/>
            </a:rPr>
            <a:t>for</a:t>
          </a:r>
          <a:r>
            <a:rPr lang="de-DE" sz="3200" b="0" i="0" u="none" kern="1200" dirty="0">
              <a:solidFill>
                <a:schemeClr val="bg1">
                  <a:lumMod val="85000"/>
                </a:schemeClr>
              </a:solidFill>
              <a:latin typeface="Arial" panose="020B0604020202020204" pitchFamily="34" charset="0"/>
            </a:rPr>
            <a:t> SDVs</a:t>
          </a:r>
          <a:endParaRPr lang="en-US" sz="3200" kern="1200" dirty="0">
            <a:solidFill>
              <a:schemeClr val="bg1">
                <a:lumMod val="85000"/>
              </a:schemeClr>
            </a:solidFill>
          </a:endParaRPr>
        </a:p>
      </dsp:txBody>
      <dsp:txXfrm>
        <a:off x="710686" y="512021"/>
        <a:ext cx="6898979" cy="1024043"/>
      </dsp:txXfrm>
    </dsp:sp>
    <dsp:sp modelId="{45136930-ACDF-4779-AE31-B5F03FB4B4B6}">
      <dsp:nvSpPr>
        <dsp:cNvPr id="0" name=""/>
        <dsp:cNvSpPr/>
      </dsp:nvSpPr>
      <dsp:spPr>
        <a:xfrm>
          <a:off x="70658" y="384016"/>
          <a:ext cx="1280054" cy="1280054"/>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DC0C79C8-7B68-44F8-B7EB-69A481F56589}">
      <dsp:nvSpPr>
        <dsp:cNvPr id="0" name=""/>
        <dsp:cNvSpPr/>
      </dsp:nvSpPr>
      <dsp:spPr>
        <a:xfrm>
          <a:off x="1082925" y="2048086"/>
          <a:ext cx="6526740" cy="1024043"/>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12834" tIns="81280" rIns="81280" bIns="81280" numCol="1" spcCol="1270" anchor="ctr" anchorCtr="0">
          <a:noAutofit/>
        </a:bodyPr>
        <a:lstStyle/>
        <a:p>
          <a:pPr marL="0" lvl="0" indent="0" algn="l" defTabSz="1422400">
            <a:lnSpc>
              <a:spcPct val="90000"/>
            </a:lnSpc>
            <a:spcBef>
              <a:spcPct val="0"/>
            </a:spcBef>
            <a:spcAft>
              <a:spcPct val="35000"/>
            </a:spcAft>
            <a:buClrTx/>
            <a:buSzTx/>
            <a:buFont typeface="Arial" panose="020B0604020202020204" pitchFamily="34" charset="0"/>
            <a:buNone/>
          </a:pPr>
          <a:r>
            <a:rPr lang="en-US" sz="3200" kern="1200" dirty="0">
              <a:solidFill>
                <a:schemeClr val="bg1">
                  <a:lumMod val="85000"/>
                </a:schemeClr>
              </a:solidFill>
            </a:rPr>
            <a:t>International Regulatory Developments</a:t>
          </a:r>
        </a:p>
      </dsp:txBody>
      <dsp:txXfrm>
        <a:off x="1082925" y="2048086"/>
        <a:ext cx="6526740" cy="1024043"/>
      </dsp:txXfrm>
    </dsp:sp>
    <dsp:sp modelId="{D8D3E725-9B4B-48E5-99C8-667D022BB3CA}">
      <dsp:nvSpPr>
        <dsp:cNvPr id="0" name=""/>
        <dsp:cNvSpPr/>
      </dsp:nvSpPr>
      <dsp:spPr>
        <a:xfrm>
          <a:off x="442898" y="1920081"/>
          <a:ext cx="1280054" cy="1280054"/>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E21CBD4C-C2A2-4BD1-A543-F2B7DF284220}">
      <dsp:nvSpPr>
        <dsp:cNvPr id="0" name=""/>
        <dsp:cNvSpPr/>
      </dsp:nvSpPr>
      <dsp:spPr>
        <a:xfrm>
          <a:off x="710686" y="3584151"/>
          <a:ext cx="6898979" cy="1024043"/>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12834" tIns="81280" rIns="81280" bIns="81280" numCol="1" spcCol="1270" anchor="ctr" anchorCtr="0">
          <a:noAutofit/>
        </a:bodyPr>
        <a:lstStyle/>
        <a:p>
          <a:pPr marL="0" lvl="0" indent="0" algn="l" defTabSz="1422400">
            <a:lnSpc>
              <a:spcPct val="90000"/>
            </a:lnSpc>
            <a:spcBef>
              <a:spcPct val="0"/>
            </a:spcBef>
            <a:spcAft>
              <a:spcPct val="35000"/>
            </a:spcAft>
            <a:buNone/>
          </a:pPr>
          <a:r>
            <a:rPr lang="de-DE" sz="3200" b="0" i="0" u="none" kern="1200" dirty="0">
              <a:solidFill>
                <a:schemeClr val="tx1"/>
              </a:solidFill>
            </a:rPr>
            <a:t>PQC (Post-Quantum </a:t>
          </a:r>
          <a:r>
            <a:rPr lang="de-DE" sz="3200" b="0" i="0" u="none" kern="1200" dirty="0" err="1">
              <a:solidFill>
                <a:schemeClr val="tx1"/>
              </a:solidFill>
            </a:rPr>
            <a:t>Cryptography</a:t>
          </a:r>
          <a:r>
            <a:rPr lang="de-DE" sz="3200" b="0" i="0" u="none" kern="1200" dirty="0">
              <a:solidFill>
                <a:schemeClr val="tx1"/>
              </a:solidFill>
            </a:rPr>
            <a:t>)</a:t>
          </a:r>
          <a:endParaRPr lang="en-US" sz="3200" kern="1200" dirty="0">
            <a:solidFill>
              <a:schemeClr val="tx1"/>
            </a:solidFill>
          </a:endParaRPr>
        </a:p>
      </dsp:txBody>
      <dsp:txXfrm>
        <a:off x="710686" y="3584151"/>
        <a:ext cx="6898979" cy="1024043"/>
      </dsp:txXfrm>
    </dsp:sp>
    <dsp:sp modelId="{5A511229-F29A-4B4B-994A-F1410CE29813}">
      <dsp:nvSpPr>
        <dsp:cNvPr id="0" name=""/>
        <dsp:cNvSpPr/>
      </dsp:nvSpPr>
      <dsp:spPr>
        <a:xfrm>
          <a:off x="70658" y="3456146"/>
          <a:ext cx="1280054" cy="1280054"/>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2.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3.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4.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66229</cdr:x>
      <cdr:y>0.15321</cdr:y>
    </cdr:from>
    <cdr:to>
      <cdr:x>0.82504</cdr:x>
      <cdr:y>0.28181</cdr:y>
    </cdr:to>
    <cdr:sp macro="" textlink="">
      <cdr:nvSpPr>
        <cdr:cNvPr id="2" name="Oval 1">
          <a:extLst xmlns:a="http://schemas.openxmlformats.org/drawingml/2006/main">
            <a:ext uri="{FF2B5EF4-FFF2-40B4-BE49-F238E27FC236}">
              <a16:creationId xmlns:a16="http://schemas.microsoft.com/office/drawing/2014/main" id="{C2493D92-70E6-D8C2-FCB3-5E5A83409816}"/>
            </a:ext>
          </a:extLst>
        </cdr:cNvPr>
        <cdr:cNvSpPr/>
      </cdr:nvSpPr>
      <cdr:spPr>
        <a:xfrm xmlns:a="http://schemas.openxmlformats.org/drawingml/2006/main">
          <a:off x="5860580" y="686304"/>
          <a:ext cx="1440160" cy="576064"/>
        </a:xfrm>
        <a:prstGeom xmlns:a="http://schemas.openxmlformats.org/drawingml/2006/main" prst="ellipse">
          <a:avLst/>
        </a:prstGeom>
        <a:noFill xmlns:a="http://schemas.openxmlformats.org/drawingml/2006/main"/>
        <a:ln xmlns:a="http://schemas.openxmlformats.org/drawingml/2006/main" w="38100">
          <a:solidFill>
            <a:srgbClr val="C000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lIns="144000" tIns="108000" rIns="144000" bIns="144000" rtlCol="0" anchor="t"/>
        <a:lstStyle xmlns:a="http://schemas.openxmlformats.org/drawingml/2006/main"/>
        <a:p xmlns:a="http://schemas.openxmlformats.org/drawingml/2006/main">
          <a:endParaRPr lang="en-US" kern="1200"/>
        </a:p>
      </cdr:txBody>
    </cdr:sp>
  </cdr:relSizeAnchor>
  <cdr:relSizeAnchor xmlns:cdr="http://schemas.openxmlformats.org/drawingml/2006/chartDrawing">
    <cdr:from>
      <cdr:x>0.64604</cdr:x>
      <cdr:y>0.75602</cdr:y>
    </cdr:from>
    <cdr:to>
      <cdr:x>0.80879</cdr:x>
      <cdr:y>0.88461</cdr:y>
    </cdr:to>
    <cdr:sp macro="" textlink="">
      <cdr:nvSpPr>
        <cdr:cNvPr id="3" name="Oval 2">
          <a:extLst xmlns:a="http://schemas.openxmlformats.org/drawingml/2006/main">
            <a:ext uri="{FF2B5EF4-FFF2-40B4-BE49-F238E27FC236}">
              <a16:creationId xmlns:a16="http://schemas.microsoft.com/office/drawing/2014/main" id="{B773FEF7-6E60-1E14-3B62-5B6B838D21BE}"/>
            </a:ext>
          </a:extLst>
        </cdr:cNvPr>
        <cdr:cNvSpPr/>
      </cdr:nvSpPr>
      <cdr:spPr>
        <a:xfrm xmlns:a="http://schemas.openxmlformats.org/drawingml/2006/main">
          <a:off x="5716750" y="3386604"/>
          <a:ext cx="1440160" cy="576064"/>
        </a:xfrm>
        <a:prstGeom xmlns:a="http://schemas.openxmlformats.org/drawingml/2006/main" prst="ellipse">
          <a:avLst/>
        </a:prstGeom>
        <a:noFill xmlns:a="http://schemas.openxmlformats.org/drawingml/2006/main"/>
        <a:ln xmlns:a="http://schemas.openxmlformats.org/drawingml/2006/main" w="38100">
          <a:solidFill>
            <a:srgbClr val="C000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lIns="144000" tIns="108000" rIns="144000" bIns="144000" rtlCol="0" anchor="t"/>
        <a:lstStyle xmlns:a="http://schemas.openxmlformats.org/drawingml/2006/main"/>
        <a:p xmlns:a="http://schemas.openxmlformats.org/drawingml/2006/main">
          <a:endParaRPr lang="en-US" kern="1200"/>
        </a:p>
      </cdr:txBody>
    </cdr:sp>
  </cdr:relSizeAnchor>
  <cdr:relSizeAnchor xmlns:cdr="http://schemas.openxmlformats.org/drawingml/2006/chartDrawing">
    <cdr:from>
      <cdr:x>0.36614</cdr:x>
      <cdr:y>0.8714</cdr:y>
    </cdr:from>
    <cdr:to>
      <cdr:x>0.52889</cdr:x>
      <cdr:y>1</cdr:y>
    </cdr:to>
    <cdr:sp macro="" textlink="">
      <cdr:nvSpPr>
        <cdr:cNvPr id="4" name="Oval 3">
          <a:extLst xmlns:a="http://schemas.openxmlformats.org/drawingml/2006/main">
            <a:ext uri="{FF2B5EF4-FFF2-40B4-BE49-F238E27FC236}">
              <a16:creationId xmlns:a16="http://schemas.microsoft.com/office/drawing/2014/main" id="{4D795E8F-42C9-F5BF-64AD-92C19D231F1B}"/>
            </a:ext>
          </a:extLst>
        </cdr:cNvPr>
        <cdr:cNvSpPr/>
      </cdr:nvSpPr>
      <cdr:spPr>
        <a:xfrm xmlns:a="http://schemas.openxmlformats.org/drawingml/2006/main">
          <a:off x="3239964" y="3924163"/>
          <a:ext cx="1440160" cy="576064"/>
        </a:xfrm>
        <a:prstGeom xmlns:a="http://schemas.openxmlformats.org/drawingml/2006/main" prst="ellipse">
          <a:avLst/>
        </a:prstGeom>
        <a:noFill xmlns:a="http://schemas.openxmlformats.org/drawingml/2006/main"/>
        <a:ln xmlns:a="http://schemas.openxmlformats.org/drawingml/2006/main" w="38100">
          <a:solidFill>
            <a:srgbClr val="C000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lIns="144000" tIns="108000" rIns="144000" bIns="144000" rtlCol="0" anchor="t"/>
        <a:lstStyle xmlns:a="http://schemas.openxmlformats.org/drawingml/2006/main"/>
        <a:p xmlns:a="http://schemas.openxmlformats.org/drawingml/2006/main">
          <a:endParaRPr lang="en-US" kern="1200"/>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Überschrift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C5820E2-C5B0-C94F-BB9D-7D44B72CB4F7}" type="datetimeFigureOut">
              <a:t>5/14/2025</a:t>
            </a:fld>
            <a:endParaRPr lang="de-DE"/>
          </a:p>
        </p:txBody>
      </p:sp>
      <p:sp>
        <p:nvSpPr>
          <p:cNvPr id="4" name="Fußzeilenplatzhalt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67046829-E818-5348-BB73-2146BF0C3B32}" type="slidenum">
              <a:t>‹#›</a:t>
            </a:fld>
            <a:endParaRPr lang="de-DE"/>
          </a:p>
        </p:txBody>
      </p:sp>
    </p:spTree>
    <p:extLst>
      <p:ext uri="{BB962C8B-B14F-4D97-AF65-F5344CB8AC3E}">
        <p14:creationId xmlns:p14="http://schemas.microsoft.com/office/powerpoint/2010/main" val="1637300180"/>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9DEEB27-5DB9-4776-AC7D-5FC4C268240D}" type="datetimeFigureOut">
              <a:rPr lang="de-DE" smtClean="0"/>
              <a:t>14.05.2025</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502F7FA-3984-4F9D-BF36-30DAB3280DBC}" type="slidenum">
              <a:rPr lang="de-DE" smtClean="0"/>
              <a:t>‹#›</a:t>
            </a:fld>
            <a:endParaRPr lang="de-DE"/>
          </a:p>
        </p:txBody>
      </p:sp>
    </p:spTree>
    <p:extLst>
      <p:ext uri="{BB962C8B-B14F-4D97-AF65-F5344CB8AC3E}">
        <p14:creationId xmlns:p14="http://schemas.microsoft.com/office/powerpoint/2010/main" val="3844752275"/>
      </p:ext>
    </p:extLst>
  </p:cSld>
  <p:clrMap bg1="lt1" tx1="dk1" bg2="lt2" tx2="dk2" accent1="accent1" accent2="accent2" accent3="accent3" accent4="accent4" accent5="accent5" accent6="accent6" hlink="hlink" folHlink="folHlink"/>
  <p:hf hdr="0" ftr="0" dt="0"/>
  <p:notesStyle>
    <a:lvl1pPr marL="0" algn="l" defTabSz="863995" rtl="0" eaLnBrk="1" latinLnBrk="0" hangingPunct="1">
      <a:defRPr sz="1134" kern="1200">
        <a:solidFill>
          <a:schemeClr val="tx1"/>
        </a:solidFill>
        <a:latin typeface="+mn-lt"/>
        <a:ea typeface="+mn-ea"/>
        <a:cs typeface="+mn-cs"/>
      </a:defRPr>
    </a:lvl1pPr>
    <a:lvl2pPr marL="431998" algn="l" defTabSz="863995" rtl="0" eaLnBrk="1" latinLnBrk="0" hangingPunct="1">
      <a:defRPr sz="1134" kern="1200">
        <a:solidFill>
          <a:schemeClr val="tx1"/>
        </a:solidFill>
        <a:latin typeface="+mn-lt"/>
        <a:ea typeface="+mn-ea"/>
        <a:cs typeface="+mn-cs"/>
      </a:defRPr>
    </a:lvl2pPr>
    <a:lvl3pPr marL="863995" algn="l" defTabSz="863995" rtl="0" eaLnBrk="1" latinLnBrk="0" hangingPunct="1">
      <a:defRPr sz="1134" kern="1200">
        <a:solidFill>
          <a:schemeClr val="tx1"/>
        </a:solidFill>
        <a:latin typeface="+mn-lt"/>
        <a:ea typeface="+mn-ea"/>
        <a:cs typeface="+mn-cs"/>
      </a:defRPr>
    </a:lvl3pPr>
    <a:lvl4pPr marL="1295993" algn="l" defTabSz="863995" rtl="0" eaLnBrk="1" latinLnBrk="0" hangingPunct="1">
      <a:defRPr sz="1134" kern="1200">
        <a:solidFill>
          <a:schemeClr val="tx1"/>
        </a:solidFill>
        <a:latin typeface="+mn-lt"/>
        <a:ea typeface="+mn-ea"/>
        <a:cs typeface="+mn-cs"/>
      </a:defRPr>
    </a:lvl4pPr>
    <a:lvl5pPr marL="1727990" algn="l" defTabSz="863995" rtl="0" eaLnBrk="1" latinLnBrk="0" hangingPunct="1">
      <a:defRPr sz="1134" kern="1200">
        <a:solidFill>
          <a:schemeClr val="tx1"/>
        </a:solidFill>
        <a:latin typeface="+mn-lt"/>
        <a:ea typeface="+mn-ea"/>
        <a:cs typeface="+mn-cs"/>
      </a:defRPr>
    </a:lvl5pPr>
    <a:lvl6pPr marL="2159988" algn="l" defTabSz="863995" rtl="0" eaLnBrk="1" latinLnBrk="0" hangingPunct="1">
      <a:defRPr sz="1134" kern="1200">
        <a:solidFill>
          <a:schemeClr val="tx1"/>
        </a:solidFill>
        <a:latin typeface="+mn-lt"/>
        <a:ea typeface="+mn-ea"/>
        <a:cs typeface="+mn-cs"/>
      </a:defRPr>
    </a:lvl6pPr>
    <a:lvl7pPr marL="2591984" algn="l" defTabSz="863995" rtl="0" eaLnBrk="1" latinLnBrk="0" hangingPunct="1">
      <a:defRPr sz="1134" kern="1200">
        <a:solidFill>
          <a:schemeClr val="tx1"/>
        </a:solidFill>
        <a:latin typeface="+mn-lt"/>
        <a:ea typeface="+mn-ea"/>
        <a:cs typeface="+mn-cs"/>
      </a:defRPr>
    </a:lvl7pPr>
    <a:lvl8pPr marL="3023982" algn="l" defTabSz="863995" rtl="0" eaLnBrk="1" latinLnBrk="0" hangingPunct="1">
      <a:defRPr sz="1134" kern="1200">
        <a:solidFill>
          <a:schemeClr val="tx1"/>
        </a:solidFill>
        <a:latin typeface="+mn-lt"/>
        <a:ea typeface="+mn-ea"/>
        <a:cs typeface="+mn-cs"/>
      </a:defRPr>
    </a:lvl8pPr>
    <a:lvl9pPr marL="3455980" algn="l" defTabSz="863995" rtl="0" eaLnBrk="1" latinLnBrk="0" hangingPunct="1">
      <a:defRPr sz="1134"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8" Type="http://schemas.openxmlformats.org/officeDocument/2006/relationships/hyperlink" Target="https://www.ul.com/services/ul-solutions-cybersecurity-advisory-red-compliance" TargetMode="External"/><Relationship Id="rId3" Type="http://schemas.openxmlformats.org/officeDocument/2006/relationships/hyperlink" Target="https://www.cema-agri.org/images/publications/position-papers/2023_01_23_PP_on_the_CRA.pdf" TargetMode="External"/><Relationship Id="rId7" Type="http://schemas.openxmlformats.org/officeDocument/2006/relationships/hyperlink" Target="https://www.sgs.com/en-gb/news/2023/07/safeguards-9523-radio-equipment-directive-red-delegated-act-for-cybersecurity-officially-postponed" TargetMode="External"/><Relationship Id="rId2" Type="http://schemas.openxmlformats.org/officeDocument/2006/relationships/slide" Target="../slides/slide13.xml"/><Relationship Id="rId1" Type="http://schemas.openxmlformats.org/officeDocument/2006/relationships/notesMaster" Target="../notesMasters/notesMaster1.xml"/><Relationship Id="rId6" Type="http://schemas.openxmlformats.org/officeDocument/2006/relationships/hyperlink" Target="https://digital-strategy.ec.europa.eu/en/policies/cyber-resilience-act" TargetMode="External"/><Relationship Id="rId5" Type="http://schemas.openxmlformats.org/officeDocument/2006/relationships/hyperlink" Target="https://www.bsi.bund.de/EN/Themen/Unternehmen-und-Organisationen/Informationen-und-Empfehlungen/Cyber_Resilience_Act/cyber_resilience_act_node.html" TargetMode="External"/><Relationship Id="rId10" Type="http://schemas.openxmlformats.org/officeDocument/2006/relationships/hyperlink" Target="https://www.whitehouse.gov/briefing-room/statements-releases/2023/07/18/biden-harris-administration-announces-cybersecurity-labeling-program-for-smart-devices-to-protect-american-consumers/" TargetMode="External"/><Relationship Id="rId4" Type="http://schemas.openxmlformats.org/officeDocument/2006/relationships/hyperlink" Target="https://osha.europa.eu/de/legislation/directive/regulation-20231230eu-machinery" TargetMode="External"/><Relationship Id="rId9" Type="http://schemas.openxmlformats.org/officeDocument/2006/relationships/hyperlink" Target="https://www.lexology.com/library/detail.aspx?g=46f3087d-48d4-4110-81be-430142ba8b4e#:~:text=These%20regulations%20were%20signed%20into,commence%20on%2029%20April%202024" TargetMode="Externa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news.microsoft.com/azure-quantum/" TargetMode="External"/><Relationship Id="rId2" Type="http://schemas.openxmlformats.org/officeDocument/2006/relationships/slide" Target="../slides/slide18.xml"/><Relationship Id="rId1" Type="http://schemas.openxmlformats.org/officeDocument/2006/relationships/notesMaster" Target="../notesMasters/notesMaster1.xml"/><Relationship Id="rId6" Type="http://schemas.openxmlformats.org/officeDocument/2006/relationships/hyperlink" Target="https://www.fujitsu.com/global/about/resources/news/press-releases/2025/0422-01.html#footnote1" TargetMode="External"/><Relationship Id="rId5" Type="http://schemas.openxmlformats.org/officeDocument/2006/relationships/hyperlink" Target="https://content.techgig.com/searchresult.cms?query=quantum+instructions" TargetMode="External"/><Relationship Id="rId4" Type="http://schemas.openxmlformats.org/officeDocument/2006/relationships/hyperlink" Target="https://aka.ms/MSQuantumAQblog" TargetMode="Externa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fld id="{9502F7FA-3984-4F9D-BF36-30DAB3280DBC}" type="slidenum">
              <a:rPr lang="de-DE" smtClean="0"/>
              <a:t>1</a:t>
            </a:fld>
            <a:endParaRPr lang="de-DE"/>
          </a:p>
        </p:txBody>
      </p:sp>
    </p:spTree>
    <p:extLst>
      <p:ext uri="{BB962C8B-B14F-4D97-AF65-F5344CB8AC3E}">
        <p14:creationId xmlns:p14="http://schemas.microsoft.com/office/powerpoint/2010/main" val="411209611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12min</a:t>
            </a:r>
          </a:p>
          <a:p>
            <a:pPr marL="0" indent="0" algn="l">
              <a:spcBef>
                <a:spcPts val="800"/>
              </a:spcBef>
              <a:buFont typeface="Arial" panose="020B0604020202020204" pitchFamily="34" charset="0"/>
              <a:buNone/>
            </a:pPr>
            <a:endParaRPr lang="en-US" sz="1200" dirty="0"/>
          </a:p>
          <a:p>
            <a:endParaRPr lang="en-US" dirty="0"/>
          </a:p>
          <a:p>
            <a:endParaRPr lang="en-US" dirty="0"/>
          </a:p>
        </p:txBody>
      </p:sp>
      <p:sp>
        <p:nvSpPr>
          <p:cNvPr id="4" name="Slide Number Placeholder 3"/>
          <p:cNvSpPr>
            <a:spLocks noGrp="1"/>
          </p:cNvSpPr>
          <p:nvPr>
            <p:ph type="sldNum" sz="quarter" idx="5"/>
          </p:nvPr>
        </p:nvSpPr>
        <p:spPr/>
        <p:txBody>
          <a:bodyPr/>
          <a:lstStyle/>
          <a:p>
            <a:fld id="{9502F7FA-3984-4F9D-BF36-30DAB3280DBC}" type="slidenum">
              <a:rPr lang="de-DE" smtClean="0"/>
              <a:t>11</a:t>
            </a:fld>
            <a:endParaRPr lang="de-DE"/>
          </a:p>
        </p:txBody>
      </p:sp>
    </p:spTree>
    <p:extLst>
      <p:ext uri="{BB962C8B-B14F-4D97-AF65-F5344CB8AC3E}">
        <p14:creationId xmlns:p14="http://schemas.microsoft.com/office/powerpoint/2010/main" val="198882480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14.5min</a:t>
            </a:r>
          </a:p>
        </p:txBody>
      </p:sp>
      <p:sp>
        <p:nvSpPr>
          <p:cNvPr id="4" name="Slide Number Placeholder 3"/>
          <p:cNvSpPr>
            <a:spLocks noGrp="1"/>
          </p:cNvSpPr>
          <p:nvPr>
            <p:ph type="sldNum" sz="quarter" idx="5"/>
          </p:nvPr>
        </p:nvSpPr>
        <p:spPr/>
        <p:txBody>
          <a:bodyPr/>
          <a:lstStyle/>
          <a:p>
            <a:fld id="{9502F7FA-3984-4F9D-BF36-30DAB3280DBC}" type="slidenum">
              <a:rPr lang="de-DE" smtClean="0"/>
              <a:t>12</a:t>
            </a:fld>
            <a:endParaRPr lang="de-DE"/>
          </a:p>
        </p:txBody>
      </p:sp>
    </p:spTree>
    <p:extLst>
      <p:ext uri="{BB962C8B-B14F-4D97-AF65-F5344CB8AC3E}">
        <p14:creationId xmlns:p14="http://schemas.microsoft.com/office/powerpoint/2010/main" val="322158577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985D67-C794-83E8-7519-3C131999713B}"/>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7DC10245-0E87-22E7-FA62-793AFF71500A}"/>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22282146-0ED6-410F-C4BB-8F719DAB3616}"/>
              </a:ext>
            </a:extLst>
          </p:cNvPr>
          <p:cNvSpPr>
            <a:spLocks noGrp="1"/>
          </p:cNvSpPr>
          <p:nvPr>
            <p:ph type="body" idx="1"/>
          </p:nvPr>
        </p:nvSpPr>
        <p:spPr/>
        <p:txBody>
          <a:bodyPr/>
          <a:lstStyle/>
          <a:p>
            <a:endParaRPr lang="en-US" sz="1200" dirty="0"/>
          </a:p>
          <a:p>
            <a:r>
              <a:rPr lang="en" sz="1200" dirty="0"/>
              <a:t>NT: New type approval; NV: Every new vehicle</a:t>
            </a:r>
          </a:p>
          <a:p>
            <a:endParaRPr lang="en-US" sz="1200" dirty="0"/>
          </a:p>
          <a:p>
            <a:r>
              <a:rPr lang="en" sz="1200" dirty="0"/>
              <a:t>Unece R155 for Motorcycles: https://unece.org/sites/default/files/2023-11/ECE-TRANS-WP.29-GRVA-2024-04e_0.pdf</a:t>
            </a:r>
          </a:p>
          <a:p>
            <a:endParaRPr lang="en-US" sz="1200" dirty="0"/>
          </a:p>
          <a:p>
            <a:r>
              <a:rPr lang="en" sz="1200" dirty="0"/>
              <a:t>We would like to refer to the ongoing work within ISO TC23 (agricultural vehicles/machines) SC19 (electronics) on an ISO New Work Item Proposal initiating a new standard on cybersecurity. By mid 2026, this new standard will be applicable to our industry.</a:t>
            </a:r>
          </a:p>
          <a:p>
            <a:r>
              <a:rPr lang="en" sz="1200" dirty="0">
                <a:hlinkClick r:id="rId3"/>
              </a:rPr>
              <a:t>https://www.cema-agri.org/images/publications/position-papers/2023_01_23_PP_on_the_CRA.pdf</a:t>
            </a:r>
            <a:endParaRPr lang="en-US" sz="1200" dirty="0"/>
          </a:p>
          <a:p>
            <a:endParaRPr lang="en-US" sz="1200" dirty="0"/>
          </a:p>
          <a:p>
            <a:pPr algn="l"/>
            <a:r>
              <a:rPr lang="en" sz="1200" dirty="0"/>
              <a:t>Regulation (EU) 2023/1230 of the European Parliament and of the Council of 14 June 2023 on machinery replaces Directive 2006/42/EC on machinery. … </a:t>
            </a:r>
            <a:r>
              <a:rPr lang="en" sz="1200" b="0" i="0" dirty="0">
                <a:solidFill>
                  <a:srgbClr val="212529"/>
                </a:solidFill>
                <a:effectLst/>
                <a:highlight>
                  <a:srgbClr val="FFFFFF"/>
                </a:highlight>
                <a:latin typeface="Open Sans" panose="020B0606030504020204" pitchFamily="34" charset="0"/>
              </a:rPr>
              <a:t>The Regulation applies from 20 January 2027. However, some rules already apply on earlier dates such as the requirements for notified bodies (14 January 2024)</a:t>
            </a:r>
            <a:r>
              <a:rPr lang="en" sz="1200" dirty="0"/>
              <a:t>. </a:t>
            </a:r>
            <a:r>
              <a:rPr lang="en" sz="1200" dirty="0">
                <a:hlinkClick r:id="rId4"/>
              </a:rPr>
              <a:t>https://osha.europa.eu/de/legislation/directive/regulation-20231230eu-machinery</a:t>
            </a:r>
            <a:endParaRPr lang="en-US" sz="1200" dirty="0"/>
          </a:p>
          <a:p>
            <a:endParaRPr lang="en-US" sz="1200" dirty="0"/>
          </a:p>
          <a:p>
            <a:r>
              <a:rPr lang="en" sz="1200" dirty="0"/>
              <a:t>CRA enters into Force 11.12.2024: </a:t>
            </a:r>
            <a:r>
              <a:rPr lang="en" sz="1200" dirty="0">
                <a:hlinkClick r:id="rId5"/>
              </a:rPr>
              <a:t>https://www.bsi.bund.de/EN/Themen/Unternehmen-und-Organisationen/Informationen-und-Empfehlungen/Cyber_Resilience_Act/cyber_resilience_act_node.html</a:t>
            </a:r>
            <a:endParaRPr lang="de-DE" sz="1200" dirty="0"/>
          </a:p>
          <a:p>
            <a:pPr marL="0" marR="0" lvl="0" indent="0" algn="l" defTabSz="863995" rtl="0" eaLnBrk="1" fontAlgn="auto" latinLnBrk="0" hangingPunct="1">
              <a:lnSpc>
                <a:spcPct val="100000"/>
              </a:lnSpc>
              <a:spcBef>
                <a:spcPts val="0"/>
              </a:spcBef>
              <a:spcAft>
                <a:spcPts val="0"/>
              </a:spcAft>
              <a:buClrTx/>
              <a:buSzTx/>
              <a:buFontTx/>
              <a:buNone/>
              <a:tabLst/>
              <a:defRPr/>
            </a:pPr>
            <a:r>
              <a:rPr lang="en" sz="1200" b="0" i="0" dirty="0">
                <a:solidFill>
                  <a:srgbClr val="404040"/>
                </a:solidFill>
                <a:effectLst/>
                <a:latin typeface="arial" panose="020B0604020202020204" pitchFamily="34" charset="0"/>
              </a:rPr>
              <a:t>Manufacturers will have to apply the rules 36 months after their entry into force. The Commission will then periodically review the Act and report on its functioning. </a:t>
            </a:r>
            <a:r>
              <a:rPr lang="en" sz="1200" b="0" i="0" baseline="0" dirty="0">
                <a:solidFill>
                  <a:srgbClr val="404040"/>
                </a:solidFill>
                <a:effectLst/>
                <a:latin typeface="arial" panose="020B0604020202020204" pitchFamily="34" charset="0"/>
                <a:hlinkClick r:id="rId6"/>
              </a:rPr>
              <a:t>https://digital-strategy.ec.europa.eu/en/policies/cyber-resilience-act</a:t>
            </a:r>
            <a:endParaRPr lang="de-DE" sz="1200" b="0" i="0" baseline="0" dirty="0">
              <a:solidFill>
                <a:srgbClr val="404040"/>
              </a:solidFill>
              <a:effectLst/>
              <a:latin typeface="arial" panose="020B0604020202020204" pitchFamily="34" charset="0"/>
            </a:endParaRPr>
          </a:p>
          <a:p>
            <a:endParaRPr lang="de-DE" sz="1200" dirty="0">
              <a:solidFill>
                <a:srgbClr val="404040"/>
              </a:solidFill>
              <a:latin typeface="arial" panose="020B0604020202020204" pitchFamily="34" charset="0"/>
            </a:endParaRPr>
          </a:p>
          <a:p>
            <a:r>
              <a:rPr lang="en" sz="1200" b="0" i="0" baseline="0" dirty="0">
                <a:solidFill>
                  <a:srgbClr val="404040"/>
                </a:solidFill>
                <a:effectLst/>
                <a:latin typeface="arial" panose="020B0604020202020204" pitchFamily="34" charset="0"/>
              </a:rPr>
              <a:t>Originally scheduled for enforcement in August 2024, the Radio Equipment Directive (RED) has been postponed to 2025 due to ongoing preparation of harmonized standards. Consequently, all wireless devices and products sold in the European Union (EU) will be required to comply with the RED delegated act from August 1, 2025. </a:t>
            </a:r>
            <a:r>
              <a:rPr lang="en" sz="1200" b="0" i="0" baseline="0" dirty="0">
                <a:solidFill>
                  <a:srgbClr val="404040"/>
                </a:solidFill>
                <a:effectLst/>
                <a:latin typeface="arial" panose="020B0604020202020204" pitchFamily="34" charset="0"/>
                <a:hlinkClick r:id="rId7"/>
              </a:rPr>
              <a:t>https://www.sgs.com/en-gb/news/2023/07/safeguards-9523-radio-equipment-directive-red-delegated-act-for-cybersecurity-officially-postponed</a:t>
            </a:r>
            <a:endParaRPr lang="en-US" sz="1200" b="0" i="0" baseline="0" dirty="0">
              <a:solidFill>
                <a:srgbClr val="404040"/>
              </a:solidFill>
              <a:effectLst/>
              <a:latin typeface="arial" panose="020B0604020202020204" pitchFamily="34" charset="0"/>
            </a:endParaRPr>
          </a:p>
          <a:p>
            <a:endParaRPr lang="de-DE" sz="1200" b="0" i="0" baseline="0" dirty="0">
              <a:solidFill>
                <a:srgbClr val="404040"/>
              </a:solidFill>
              <a:effectLst/>
              <a:latin typeface="arial" panose="020B0604020202020204" pitchFamily="34" charset="0"/>
            </a:endParaRPr>
          </a:p>
          <a:p>
            <a:r>
              <a:rPr lang="en" sz="1200" baseline="0" dirty="0"/>
              <a:t>On Jan. 12, 2022, the Official Journal of the European Union published delegated regulation 2022/30/EU, enforcing compliance requirements to RED Article 3.3(d), (e) and (f). The regulation requires cybersecurity, personal data privacy and fraud protection for applicable wireless devices available on the EU market (see figure). It takes effect Feb. 1, 2022, and becomes mandatory Aug. 1, 2025, giving device manufacturers a 42-month transition period. </a:t>
            </a:r>
            <a:r>
              <a:rPr lang="en" sz="1200" baseline="0" dirty="0">
                <a:hlinkClick r:id="rId8"/>
              </a:rPr>
              <a:t>https://www.ul.com/services/ul-solutions-cybersecurity-advisory-red-compliance</a:t>
            </a:r>
            <a:endParaRPr lang="en-US" sz="1200" baseline="0" dirty="0"/>
          </a:p>
          <a:p>
            <a:endParaRPr lang="de-DE" sz="1200" baseline="0" dirty="0"/>
          </a:p>
          <a:p>
            <a:r>
              <a:rPr lang="en" sz="1200" dirty="0"/>
              <a:t>Product Security and Telecommunications Infrastructure Act </a:t>
            </a:r>
            <a:r>
              <a:rPr lang="en" sz="1200" dirty="0">
                <a:hlinkClick r:id="rId9"/>
              </a:rPr>
              <a:t>https://www.lexology.com/library/detail.aspx?g=46f3087d-48d4-4110-81be-430142ba8b4e#:~:text=These%20regulations%20were%20signed%20into,commence%20on%2029%20April%202024</a:t>
            </a:r>
            <a:endParaRPr lang="en-US" sz="1200" dirty="0"/>
          </a:p>
          <a:p>
            <a:endParaRPr lang="en-US" sz="1200" dirty="0"/>
          </a:p>
          <a:p>
            <a:r>
              <a:rPr lang="en" sz="1200" dirty="0"/>
              <a:t>Cyber trust mark </a:t>
            </a:r>
            <a:r>
              <a:rPr lang="en" sz="1200" dirty="0">
                <a:hlinkClick r:id="rId10"/>
              </a:rPr>
              <a:t>https://www.whitehouse.gov/briefing-room/statements-releases/2023/07/18/biden-harris-administration-announces-cybersecurity-labeling-program-for-smart-devices-to-protect-american-consumers/</a:t>
            </a:r>
            <a:endParaRPr lang="en-US" sz="1200" dirty="0"/>
          </a:p>
          <a:p>
            <a:endParaRPr lang="de-DE" sz="1200" dirty="0"/>
          </a:p>
          <a:p>
            <a:endParaRPr lang="de-DE" sz="1200" dirty="0"/>
          </a:p>
          <a:p>
            <a:endParaRPr lang="de-DE" sz="1200" dirty="0"/>
          </a:p>
          <a:p>
            <a:endParaRPr lang="de-DE" dirty="0"/>
          </a:p>
        </p:txBody>
      </p:sp>
      <p:sp>
        <p:nvSpPr>
          <p:cNvPr id="4" name="Foliennummernplatzhalter 3">
            <a:extLst>
              <a:ext uri="{FF2B5EF4-FFF2-40B4-BE49-F238E27FC236}">
                <a16:creationId xmlns:a16="http://schemas.microsoft.com/office/drawing/2014/main" id="{F745C9CB-C757-DEF7-4685-DE07F83F7F0F}"/>
              </a:ext>
            </a:extLst>
          </p:cNvPr>
          <p:cNvSpPr>
            <a:spLocks noGrp="1"/>
          </p:cNvSpPr>
          <p:nvPr>
            <p:ph type="sldNum" sz="quarter" idx="5"/>
          </p:nvPr>
        </p:nvSpPr>
        <p:spPr/>
        <p:txBody>
          <a:bodyPr/>
          <a:lstStyle/>
          <a:p>
            <a:pPr marL="0" marR="0" lvl="0" indent="0" algn="r" defTabSz="863995" rtl="0" eaLnBrk="1" fontAlgn="auto" latinLnBrk="0" hangingPunct="1">
              <a:lnSpc>
                <a:spcPct val="100000"/>
              </a:lnSpc>
              <a:spcBef>
                <a:spcPts val="0"/>
              </a:spcBef>
              <a:spcAft>
                <a:spcPts val="0"/>
              </a:spcAft>
              <a:buClrTx/>
              <a:buSzTx/>
              <a:buFontTx/>
              <a:buNone/>
              <a:tabLst/>
              <a:defRPr/>
            </a:pPr>
            <a:fld id="{9502F7FA-3984-4F9D-BF36-30DAB3280DBC}"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863995" rtl="0" eaLnBrk="1" fontAlgn="auto" latinLnBrk="0" hangingPunct="1">
                <a:lnSpc>
                  <a:spcPct val="100000"/>
                </a:lnSpc>
                <a:spcBef>
                  <a:spcPts val="0"/>
                </a:spcBef>
                <a:spcAft>
                  <a:spcPts val="0"/>
                </a:spcAft>
                <a:buClrTx/>
                <a:buSzTx/>
                <a:buFontTx/>
                <a:buNone/>
                <a:tabLst/>
                <a:defRPr/>
              </a:pPr>
              <a:t>13</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4902503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7AAA20-B31F-FA31-4C5A-ABCCC7B0F430}"/>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94F6BE47-B581-8C50-15DA-477069842969}"/>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A7B2F19D-2F06-FA7A-C0A7-C7BD748E64B8}"/>
              </a:ext>
            </a:extLst>
          </p:cNvPr>
          <p:cNvSpPr>
            <a:spLocks noGrp="1"/>
          </p:cNvSpPr>
          <p:nvPr>
            <p:ph type="body" idx="1"/>
          </p:nvPr>
        </p:nvSpPr>
        <p:spPr/>
        <p:txBody>
          <a:bodyPr/>
          <a:lstStyle/>
          <a:p>
            <a:r>
              <a:rPr lang="de-DE" dirty="0"/>
              <a:t>15min</a:t>
            </a:r>
          </a:p>
          <a:p>
            <a:endParaRPr lang="de-DE" dirty="0"/>
          </a:p>
          <a:p>
            <a:r>
              <a:rPr lang="de-DE" dirty="0"/>
              <a:t>Cars, </a:t>
            </a:r>
            <a:r>
              <a:rPr lang="de-DE" dirty="0" err="1"/>
              <a:t>buses</a:t>
            </a:r>
            <a:r>
              <a:rPr lang="de-DE" dirty="0"/>
              <a:t>, </a:t>
            </a:r>
            <a:r>
              <a:rPr lang="de-DE" dirty="0" err="1"/>
              <a:t>trucks</a:t>
            </a:r>
            <a:r>
              <a:rPr lang="de-DE" dirty="0"/>
              <a:t>, </a:t>
            </a:r>
            <a:r>
              <a:rPr lang="de-DE" dirty="0" err="1"/>
              <a:t>trailers</a:t>
            </a:r>
            <a:r>
              <a:rPr lang="de-DE" dirty="0"/>
              <a:t>, </a:t>
            </a:r>
            <a:r>
              <a:rPr lang="de-DE" dirty="0" err="1"/>
              <a:t>motorcycles</a:t>
            </a:r>
            <a:r>
              <a:rPr lang="de-DE" dirty="0"/>
              <a:t> fall </a:t>
            </a:r>
            <a:r>
              <a:rPr lang="de-DE" dirty="0" err="1"/>
              <a:t>under</a:t>
            </a:r>
            <a:r>
              <a:rPr lang="de-DE" dirty="0"/>
              <a:t> UN R155 and not CRA</a:t>
            </a:r>
          </a:p>
          <a:p>
            <a:endParaRPr lang="de-DE" dirty="0"/>
          </a:p>
          <a:p>
            <a:r>
              <a:rPr lang="de-DE" dirty="0"/>
              <a:t>L will </a:t>
            </a:r>
            <a:r>
              <a:rPr lang="de-DE" dirty="0" err="1"/>
              <a:t>be</a:t>
            </a:r>
            <a:r>
              <a:rPr lang="de-DE" dirty="0"/>
              <a:t> </a:t>
            </a:r>
            <a:r>
              <a:rPr lang="de-DE" dirty="0" err="1"/>
              <a:t>moved</a:t>
            </a:r>
            <a:r>
              <a:rPr lang="de-DE" dirty="0"/>
              <a:t> out </a:t>
            </a:r>
            <a:r>
              <a:rPr lang="de-DE" dirty="0" err="1"/>
              <a:t>from</a:t>
            </a:r>
            <a:r>
              <a:rPr lang="de-DE" dirty="0"/>
              <a:t> CRA </a:t>
            </a:r>
            <a:r>
              <a:rPr lang="de-DE" dirty="0" err="1"/>
              <a:t>scope</a:t>
            </a:r>
            <a:r>
              <a:rPr lang="de-DE" dirty="0"/>
              <a:t> on </a:t>
            </a:r>
            <a:r>
              <a:rPr lang="de-DE" dirty="0" err="1"/>
              <a:t>Dec</a:t>
            </a:r>
            <a:r>
              <a:rPr lang="de-DE" dirty="0"/>
              <a:t> 11, 2027</a:t>
            </a:r>
          </a:p>
          <a:p>
            <a:r>
              <a:rPr lang="de-DE" dirty="0"/>
              <a:t>L </a:t>
            </a:r>
            <a:r>
              <a:rPr lang="de-DE" dirty="0" err="1"/>
              <a:t>for</a:t>
            </a:r>
            <a:r>
              <a:rPr lang="de-DE" dirty="0"/>
              <a:t> UN R155 will </a:t>
            </a:r>
            <a:r>
              <a:rPr lang="de-DE" dirty="0" err="1"/>
              <a:t>start</a:t>
            </a:r>
            <a:r>
              <a:rPr lang="de-DE" dirty="0"/>
              <a:t> </a:t>
            </a:r>
            <a:r>
              <a:rPr lang="de-DE" dirty="0" err="1"/>
              <a:t>from</a:t>
            </a:r>
            <a:r>
              <a:rPr lang="de-DE" dirty="0"/>
              <a:t> 1 </a:t>
            </a:r>
            <a:r>
              <a:rPr lang="de-DE" dirty="0" err="1"/>
              <a:t>July</a:t>
            </a:r>
            <a:r>
              <a:rPr lang="de-DE" dirty="0"/>
              <a:t> 2029</a:t>
            </a:r>
          </a:p>
        </p:txBody>
      </p:sp>
      <p:sp>
        <p:nvSpPr>
          <p:cNvPr id="4" name="Foliennummernplatzhalter 3">
            <a:extLst>
              <a:ext uri="{FF2B5EF4-FFF2-40B4-BE49-F238E27FC236}">
                <a16:creationId xmlns:a16="http://schemas.microsoft.com/office/drawing/2014/main" id="{5D2472F6-7C62-733D-742A-8C2ED9614374}"/>
              </a:ext>
            </a:extLst>
          </p:cNvPr>
          <p:cNvSpPr>
            <a:spLocks noGrp="1"/>
          </p:cNvSpPr>
          <p:nvPr>
            <p:ph type="sldNum" sz="quarter" idx="5"/>
          </p:nvPr>
        </p:nvSpPr>
        <p:spPr/>
        <p:txBody>
          <a:bodyPr/>
          <a:lstStyle/>
          <a:p>
            <a:fld id="{9502F7FA-3984-4F9D-BF36-30DAB3280DBC}" type="slidenum">
              <a:rPr lang="de-DE" smtClean="0"/>
              <a:t>14</a:t>
            </a:fld>
            <a:endParaRPr lang="de-DE"/>
          </a:p>
        </p:txBody>
      </p:sp>
    </p:spTree>
    <p:extLst>
      <p:ext uri="{BB962C8B-B14F-4D97-AF65-F5344CB8AC3E}">
        <p14:creationId xmlns:p14="http://schemas.microsoft.com/office/powerpoint/2010/main" val="51136488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17min</a:t>
            </a:r>
          </a:p>
          <a:p>
            <a:endParaRPr lang="de-DE" dirty="0"/>
          </a:p>
          <a:p>
            <a:r>
              <a:rPr lang="de-DE" dirty="0"/>
              <a:t>CRA: </a:t>
            </a:r>
          </a:p>
          <a:p>
            <a:r>
              <a:rPr lang="de-DE" dirty="0"/>
              <a:t>Non-</a:t>
            </a:r>
            <a:r>
              <a:rPr lang="de-DE" dirty="0" err="1"/>
              <a:t>critical</a:t>
            </a:r>
            <a:r>
              <a:rPr lang="de-DE" dirty="0"/>
              <a:t> </a:t>
            </a:r>
            <a:r>
              <a:rPr lang="de-DE" dirty="0" err="1"/>
              <a:t>products</a:t>
            </a:r>
            <a:r>
              <a:rPr lang="de-DE" dirty="0"/>
              <a:t> -&gt; </a:t>
            </a:r>
            <a:r>
              <a:rPr lang="de-DE" dirty="0" err="1"/>
              <a:t>self-assessment</a:t>
            </a:r>
            <a:endParaRPr lang="de-DE" dirty="0"/>
          </a:p>
          <a:p>
            <a:r>
              <a:rPr lang="de-DE" dirty="0" err="1"/>
              <a:t>Important</a:t>
            </a:r>
            <a:r>
              <a:rPr lang="de-DE" dirty="0"/>
              <a:t> </a:t>
            </a:r>
            <a:r>
              <a:rPr lang="de-DE" dirty="0" err="1"/>
              <a:t>class</a:t>
            </a:r>
            <a:r>
              <a:rPr lang="de-DE" dirty="0"/>
              <a:t> I -&gt; </a:t>
            </a:r>
            <a:r>
              <a:rPr lang="de-DE" dirty="0" err="1"/>
              <a:t>self-assessment</a:t>
            </a:r>
            <a:r>
              <a:rPr lang="de-DE" dirty="0"/>
              <a:t> </a:t>
            </a:r>
            <a:r>
              <a:rPr lang="de-DE" dirty="0" err="1"/>
              <a:t>if</a:t>
            </a:r>
            <a:r>
              <a:rPr lang="de-DE" dirty="0"/>
              <a:t> </a:t>
            </a:r>
            <a:r>
              <a:rPr lang="de-DE" dirty="0" err="1"/>
              <a:t>apply</a:t>
            </a:r>
            <a:r>
              <a:rPr lang="de-DE" dirty="0"/>
              <a:t> </a:t>
            </a:r>
            <a:r>
              <a:rPr lang="de-DE" dirty="0" err="1"/>
              <a:t>harmoinzed</a:t>
            </a:r>
            <a:r>
              <a:rPr lang="de-DE" dirty="0"/>
              <a:t> </a:t>
            </a:r>
            <a:r>
              <a:rPr lang="de-DE" dirty="0" err="1"/>
              <a:t>standards</a:t>
            </a:r>
            <a:r>
              <a:rPr lang="de-DE" dirty="0"/>
              <a:t>, </a:t>
            </a:r>
            <a:r>
              <a:rPr lang="de-DE" dirty="0" err="1"/>
              <a:t>common</a:t>
            </a:r>
            <a:r>
              <a:rPr lang="de-DE" dirty="0"/>
              <a:t> </a:t>
            </a:r>
            <a:r>
              <a:rPr lang="de-DE" dirty="0" err="1"/>
              <a:t>specifications</a:t>
            </a:r>
            <a:r>
              <a:rPr lang="de-DE" dirty="0"/>
              <a:t> </a:t>
            </a:r>
            <a:r>
              <a:rPr lang="de-DE" dirty="0" err="1"/>
              <a:t>or</a:t>
            </a:r>
            <a:r>
              <a:rPr lang="de-DE" dirty="0"/>
              <a:t> European </a:t>
            </a:r>
            <a:r>
              <a:rPr lang="de-DE" dirty="0" err="1"/>
              <a:t>cybersecurity</a:t>
            </a:r>
            <a:r>
              <a:rPr lang="de-DE" dirty="0"/>
              <a:t> </a:t>
            </a:r>
            <a:r>
              <a:rPr lang="de-DE" dirty="0" err="1"/>
              <a:t>certification</a:t>
            </a:r>
            <a:r>
              <a:rPr lang="de-DE" dirty="0"/>
              <a:t> -&gt; </a:t>
            </a:r>
            <a:r>
              <a:rPr lang="de-DE" dirty="0" err="1"/>
              <a:t>if</a:t>
            </a:r>
            <a:r>
              <a:rPr lang="de-DE" dirty="0"/>
              <a:t> not, </a:t>
            </a:r>
            <a:r>
              <a:rPr lang="de-DE" dirty="0" err="1"/>
              <a:t>mandatory</a:t>
            </a:r>
            <a:r>
              <a:rPr lang="de-DE" dirty="0"/>
              <a:t> </a:t>
            </a:r>
            <a:r>
              <a:rPr lang="de-DE" dirty="0" err="1"/>
              <a:t>third</a:t>
            </a:r>
            <a:r>
              <a:rPr lang="de-DE" dirty="0"/>
              <a:t>-party </a:t>
            </a:r>
            <a:r>
              <a:rPr lang="de-DE" dirty="0" err="1"/>
              <a:t>conformity</a:t>
            </a:r>
            <a:r>
              <a:rPr lang="de-DE" dirty="0"/>
              <a:t> </a:t>
            </a:r>
            <a:r>
              <a:rPr lang="de-DE" dirty="0" err="1"/>
              <a:t>assessment</a:t>
            </a:r>
            <a:endParaRPr lang="de-DE" dirty="0"/>
          </a:p>
          <a:p>
            <a:r>
              <a:rPr lang="de-DE" dirty="0" err="1"/>
              <a:t>Important</a:t>
            </a:r>
            <a:r>
              <a:rPr lang="de-DE" dirty="0"/>
              <a:t> </a:t>
            </a:r>
            <a:r>
              <a:rPr lang="de-DE" dirty="0" err="1"/>
              <a:t>class</a:t>
            </a:r>
            <a:r>
              <a:rPr lang="de-DE" dirty="0"/>
              <a:t> II -&gt; </a:t>
            </a:r>
            <a:r>
              <a:rPr lang="de-DE" dirty="0" err="1"/>
              <a:t>mandatory</a:t>
            </a:r>
            <a:r>
              <a:rPr lang="de-DE" dirty="0"/>
              <a:t> </a:t>
            </a:r>
            <a:r>
              <a:rPr lang="de-DE" dirty="0" err="1"/>
              <a:t>third</a:t>
            </a:r>
            <a:r>
              <a:rPr lang="de-DE" dirty="0"/>
              <a:t>-party </a:t>
            </a:r>
            <a:r>
              <a:rPr lang="de-DE" dirty="0" err="1"/>
              <a:t>conformity</a:t>
            </a:r>
            <a:r>
              <a:rPr lang="de-DE" dirty="0"/>
              <a:t> </a:t>
            </a:r>
            <a:r>
              <a:rPr lang="de-DE" dirty="0" err="1"/>
              <a:t>assessment</a:t>
            </a:r>
            <a:endParaRPr lang="de-DE" dirty="0"/>
          </a:p>
          <a:p>
            <a:r>
              <a:rPr lang="de-DE" dirty="0"/>
              <a:t>Critical </a:t>
            </a:r>
            <a:r>
              <a:rPr lang="de-DE" dirty="0" err="1"/>
              <a:t>products</a:t>
            </a:r>
            <a:r>
              <a:rPr lang="de-DE" dirty="0"/>
              <a:t> -&gt; </a:t>
            </a:r>
            <a:r>
              <a:rPr lang="de-DE" dirty="0" err="1"/>
              <a:t>mandatory</a:t>
            </a:r>
            <a:r>
              <a:rPr lang="de-DE" dirty="0"/>
              <a:t> European Common </a:t>
            </a:r>
            <a:r>
              <a:rPr lang="de-DE" dirty="0" err="1"/>
              <a:t>Criteria</a:t>
            </a:r>
            <a:r>
              <a:rPr lang="de-DE" dirty="0"/>
              <a:t> (EUCC) </a:t>
            </a:r>
            <a:r>
              <a:rPr lang="de-DE" dirty="0" err="1"/>
              <a:t>certification</a:t>
            </a:r>
            <a:r>
              <a:rPr lang="de-DE" dirty="0"/>
              <a:t> </a:t>
            </a:r>
            <a:r>
              <a:rPr lang="de-DE" dirty="0" err="1"/>
              <a:t>assessment</a:t>
            </a:r>
            <a:r>
              <a:rPr lang="de-DE" dirty="0"/>
              <a:t> </a:t>
            </a:r>
            <a:r>
              <a:rPr lang="de-DE" dirty="0" err="1"/>
              <a:t>by</a:t>
            </a:r>
            <a:r>
              <a:rPr lang="de-DE" dirty="0"/>
              <a:t> </a:t>
            </a:r>
            <a:r>
              <a:rPr lang="de-DE" dirty="0" err="1"/>
              <a:t>authorized</a:t>
            </a:r>
            <a:r>
              <a:rPr lang="de-DE" dirty="0"/>
              <a:t> </a:t>
            </a:r>
            <a:r>
              <a:rPr lang="de-DE" dirty="0" err="1"/>
              <a:t>confirmity</a:t>
            </a:r>
            <a:r>
              <a:rPr lang="de-DE" dirty="0"/>
              <a:t> </a:t>
            </a:r>
            <a:r>
              <a:rPr lang="de-DE" dirty="0" err="1"/>
              <a:t>assessment</a:t>
            </a:r>
            <a:r>
              <a:rPr lang="de-DE" dirty="0"/>
              <a:t> </a:t>
            </a:r>
            <a:r>
              <a:rPr lang="de-DE" dirty="0" err="1"/>
              <a:t>body</a:t>
            </a:r>
            <a:endParaRPr lang="de-DE" dirty="0"/>
          </a:p>
          <a:p>
            <a:endParaRPr lang="de-DE" dirty="0"/>
          </a:p>
          <a:p>
            <a:r>
              <a:rPr lang="de-DE" dirty="0"/>
              <a:t>GB: </a:t>
            </a:r>
            <a:r>
              <a:rPr lang="de-DE" dirty="0" err="1"/>
              <a:t>testing</a:t>
            </a:r>
            <a:r>
              <a:rPr lang="de-DE" dirty="0"/>
              <a:t> </a:t>
            </a:r>
            <a:r>
              <a:rPr lang="de-DE" dirty="0" err="1"/>
              <a:t>using</a:t>
            </a:r>
            <a:r>
              <a:rPr lang="de-DE" dirty="0"/>
              <a:t> </a:t>
            </a:r>
            <a:r>
              <a:rPr lang="de-DE" dirty="0" err="1"/>
              <a:t>third</a:t>
            </a:r>
            <a:r>
              <a:rPr lang="de-DE" dirty="0"/>
              <a:t>-party </a:t>
            </a:r>
            <a:r>
              <a:rPr lang="de-DE" dirty="0" err="1"/>
              <a:t>labs</a:t>
            </a:r>
            <a:endParaRPr lang="de-DE" dirty="0"/>
          </a:p>
          <a:p>
            <a:r>
              <a:rPr lang="de-DE" dirty="0" err="1"/>
              <a:t>Does</a:t>
            </a:r>
            <a:r>
              <a:rPr lang="de-DE" dirty="0"/>
              <a:t> not </a:t>
            </a:r>
            <a:r>
              <a:rPr lang="de-DE" dirty="0" err="1"/>
              <a:t>specify</a:t>
            </a:r>
            <a:r>
              <a:rPr lang="de-DE" dirty="0"/>
              <a:t> </a:t>
            </a:r>
            <a:r>
              <a:rPr lang="de-DE" dirty="0" err="1"/>
              <a:t>if</a:t>
            </a:r>
            <a:r>
              <a:rPr lang="de-DE" dirty="0"/>
              <a:t> </a:t>
            </a:r>
            <a:r>
              <a:rPr lang="de-DE" dirty="0" err="1"/>
              <a:t>the</a:t>
            </a:r>
            <a:r>
              <a:rPr lang="de-DE" dirty="0"/>
              <a:t> </a:t>
            </a:r>
            <a:r>
              <a:rPr lang="de-DE" dirty="0" err="1"/>
              <a:t>labs</a:t>
            </a:r>
            <a:r>
              <a:rPr lang="de-DE" dirty="0"/>
              <a:t> </a:t>
            </a:r>
            <a:r>
              <a:rPr lang="de-DE" dirty="0" err="1"/>
              <a:t>must</a:t>
            </a:r>
            <a:r>
              <a:rPr lang="de-DE" dirty="0"/>
              <a:t> </a:t>
            </a:r>
            <a:r>
              <a:rPr lang="de-DE" dirty="0" err="1"/>
              <a:t>be</a:t>
            </a:r>
            <a:r>
              <a:rPr lang="de-DE" dirty="0"/>
              <a:t> </a:t>
            </a:r>
            <a:r>
              <a:rPr lang="de-DE" dirty="0" err="1"/>
              <a:t>accredited</a:t>
            </a:r>
            <a:r>
              <a:rPr lang="de-DE" dirty="0"/>
              <a:t> </a:t>
            </a:r>
            <a:r>
              <a:rPr lang="de-DE" dirty="0" err="1"/>
              <a:t>by</a:t>
            </a:r>
            <a:r>
              <a:rPr lang="de-DE" dirty="0"/>
              <a:t> national </a:t>
            </a:r>
            <a:r>
              <a:rPr lang="de-DE" dirty="0" err="1"/>
              <a:t>body</a:t>
            </a:r>
            <a:endParaRPr lang="de-DE" dirty="0"/>
          </a:p>
          <a:p>
            <a:r>
              <a:rPr lang="de-DE" dirty="0"/>
              <a:t>Compliance </a:t>
            </a:r>
            <a:r>
              <a:rPr lang="de-DE" dirty="0" err="1"/>
              <a:t>with</a:t>
            </a:r>
            <a:r>
              <a:rPr lang="de-DE" dirty="0"/>
              <a:t> GB </a:t>
            </a:r>
            <a:r>
              <a:rPr lang="de-DE" dirty="0" err="1"/>
              <a:t>rests</a:t>
            </a:r>
            <a:r>
              <a:rPr lang="de-DE" dirty="0"/>
              <a:t> </a:t>
            </a:r>
            <a:r>
              <a:rPr lang="de-DE" dirty="0" err="1"/>
              <a:t>with</a:t>
            </a:r>
            <a:r>
              <a:rPr lang="de-DE" dirty="0"/>
              <a:t> </a:t>
            </a:r>
            <a:r>
              <a:rPr lang="de-DE" dirty="0" err="1"/>
              <a:t>the</a:t>
            </a:r>
            <a:r>
              <a:rPr lang="de-DE" dirty="0"/>
              <a:t> </a:t>
            </a:r>
            <a:r>
              <a:rPr lang="de-DE" dirty="0" err="1"/>
              <a:t>vehicle</a:t>
            </a:r>
            <a:r>
              <a:rPr lang="de-DE" dirty="0"/>
              <a:t> </a:t>
            </a:r>
            <a:r>
              <a:rPr lang="de-DE" dirty="0" err="1"/>
              <a:t>manufacturer</a:t>
            </a:r>
            <a:r>
              <a:rPr lang="de-DE" dirty="0"/>
              <a:t> – </a:t>
            </a:r>
            <a:r>
              <a:rPr lang="de-DE" dirty="0" err="1"/>
              <a:t>they</a:t>
            </a:r>
            <a:r>
              <a:rPr lang="de-DE" dirty="0"/>
              <a:t> </a:t>
            </a:r>
            <a:r>
              <a:rPr lang="de-DE" dirty="0" err="1"/>
              <a:t>need</a:t>
            </a:r>
            <a:r>
              <a:rPr lang="de-DE" dirty="0"/>
              <a:t> </a:t>
            </a:r>
            <a:r>
              <a:rPr lang="de-DE" dirty="0" err="1"/>
              <a:t>to</a:t>
            </a:r>
            <a:r>
              <a:rPr lang="de-DE" dirty="0"/>
              <a:t> </a:t>
            </a:r>
            <a:r>
              <a:rPr lang="de-DE" dirty="0" err="1"/>
              <a:t>ensure</a:t>
            </a:r>
            <a:r>
              <a:rPr lang="de-DE" dirty="0"/>
              <a:t> </a:t>
            </a:r>
            <a:r>
              <a:rPr lang="de-DE" dirty="0" err="1"/>
              <a:t>that</a:t>
            </a:r>
            <a:r>
              <a:rPr lang="de-DE" dirty="0"/>
              <a:t> </a:t>
            </a:r>
            <a:r>
              <a:rPr lang="de-DE" dirty="0" err="1"/>
              <a:t>the</a:t>
            </a:r>
            <a:r>
              <a:rPr lang="de-DE" dirty="0"/>
              <a:t> </a:t>
            </a:r>
            <a:r>
              <a:rPr lang="de-DE" dirty="0" err="1"/>
              <a:t>testing</a:t>
            </a:r>
            <a:r>
              <a:rPr lang="de-DE" dirty="0"/>
              <a:t> </a:t>
            </a:r>
            <a:r>
              <a:rPr lang="de-DE" dirty="0" err="1"/>
              <a:t>conducted</a:t>
            </a:r>
            <a:r>
              <a:rPr lang="de-DE" dirty="0"/>
              <a:t> (</a:t>
            </a:r>
            <a:r>
              <a:rPr lang="de-DE" dirty="0" err="1"/>
              <a:t>internally</a:t>
            </a:r>
            <a:r>
              <a:rPr lang="de-DE" dirty="0"/>
              <a:t> </a:t>
            </a:r>
            <a:r>
              <a:rPr lang="de-DE" dirty="0" err="1"/>
              <a:t>or</a:t>
            </a:r>
            <a:r>
              <a:rPr lang="de-DE" dirty="0"/>
              <a:t> </a:t>
            </a:r>
            <a:r>
              <a:rPr lang="de-DE" dirty="0" err="1"/>
              <a:t>third</a:t>
            </a:r>
            <a:r>
              <a:rPr lang="de-DE" dirty="0"/>
              <a:t>-party) </a:t>
            </a:r>
            <a:r>
              <a:rPr lang="de-DE" dirty="0" err="1"/>
              <a:t>meets</a:t>
            </a:r>
            <a:r>
              <a:rPr lang="de-DE" dirty="0"/>
              <a:t> </a:t>
            </a:r>
            <a:r>
              <a:rPr lang="de-DE" dirty="0" err="1"/>
              <a:t>the</a:t>
            </a:r>
            <a:r>
              <a:rPr lang="de-DE" dirty="0"/>
              <a:t> </a:t>
            </a:r>
            <a:r>
              <a:rPr lang="de-DE" dirty="0" err="1"/>
              <a:t>standards</a:t>
            </a:r>
            <a:r>
              <a:rPr lang="de-DE" dirty="0"/>
              <a:t> </a:t>
            </a:r>
            <a:r>
              <a:rPr lang="de-DE" dirty="0" err="1"/>
              <a:t>requirements</a:t>
            </a:r>
            <a:r>
              <a:rPr lang="de-DE" dirty="0"/>
              <a:t> and </a:t>
            </a:r>
            <a:r>
              <a:rPr lang="de-DE" dirty="0" err="1"/>
              <a:t>effectively</a:t>
            </a:r>
            <a:r>
              <a:rPr lang="de-DE" dirty="0"/>
              <a:t> </a:t>
            </a:r>
            <a:r>
              <a:rPr lang="de-DE" dirty="0" err="1"/>
              <a:t>validates</a:t>
            </a:r>
            <a:r>
              <a:rPr lang="de-DE" dirty="0"/>
              <a:t> </a:t>
            </a:r>
            <a:r>
              <a:rPr lang="de-DE" dirty="0" err="1"/>
              <a:t>the</a:t>
            </a:r>
            <a:r>
              <a:rPr lang="de-DE" dirty="0"/>
              <a:t> </a:t>
            </a:r>
            <a:r>
              <a:rPr lang="de-DE" dirty="0" err="1"/>
              <a:t>cybersecurity</a:t>
            </a:r>
            <a:r>
              <a:rPr lang="de-DE" dirty="0"/>
              <a:t> </a:t>
            </a:r>
            <a:r>
              <a:rPr lang="de-DE" dirty="0" err="1"/>
              <a:t>measures</a:t>
            </a:r>
            <a:r>
              <a:rPr lang="de-DE" dirty="0"/>
              <a:t> </a:t>
            </a:r>
            <a:r>
              <a:rPr lang="de-DE" dirty="0" err="1"/>
              <a:t>implemented</a:t>
            </a:r>
            <a:endParaRPr lang="de-DE" dirty="0"/>
          </a:p>
          <a:p>
            <a:endParaRPr lang="de-DE" dirty="0"/>
          </a:p>
          <a:p>
            <a:r>
              <a:rPr lang="de-DE" dirty="0"/>
              <a:t>Chinese </a:t>
            </a:r>
            <a:r>
              <a:rPr lang="de-DE" dirty="0" err="1"/>
              <a:t>crypto</a:t>
            </a:r>
            <a:r>
              <a:rPr lang="de-DE" dirty="0"/>
              <a:t>:</a:t>
            </a:r>
          </a:p>
          <a:p>
            <a:r>
              <a:rPr lang="de-DE" dirty="0"/>
              <a:t>SM2: </a:t>
            </a:r>
            <a:r>
              <a:rPr lang="de-DE" dirty="0" err="1"/>
              <a:t>elliptic</a:t>
            </a:r>
            <a:r>
              <a:rPr lang="de-DE" dirty="0"/>
              <a:t> </a:t>
            </a:r>
            <a:r>
              <a:rPr lang="de-DE" dirty="0" err="1"/>
              <a:t>curve-based</a:t>
            </a:r>
            <a:r>
              <a:rPr lang="de-DE" dirty="0"/>
              <a:t> </a:t>
            </a:r>
            <a:r>
              <a:rPr lang="de-DE" dirty="0" err="1"/>
              <a:t>public</a:t>
            </a:r>
            <a:r>
              <a:rPr lang="de-DE" dirty="0"/>
              <a:t> </a:t>
            </a:r>
            <a:r>
              <a:rPr lang="de-DE" dirty="0" err="1"/>
              <a:t>key</a:t>
            </a:r>
            <a:r>
              <a:rPr lang="de-DE" dirty="0"/>
              <a:t> </a:t>
            </a:r>
            <a:r>
              <a:rPr lang="de-DE" dirty="0" err="1"/>
              <a:t>algorithm</a:t>
            </a:r>
            <a:r>
              <a:rPr lang="de-DE" dirty="0"/>
              <a:t> </a:t>
            </a:r>
            <a:r>
              <a:rPr lang="de-DE" dirty="0" err="1"/>
              <a:t>for</a:t>
            </a:r>
            <a:r>
              <a:rPr lang="de-DE" dirty="0"/>
              <a:t> digital </a:t>
            </a:r>
            <a:r>
              <a:rPr lang="de-DE" dirty="0" err="1"/>
              <a:t>signatures</a:t>
            </a:r>
            <a:r>
              <a:rPr lang="de-DE" dirty="0"/>
              <a:t> and </a:t>
            </a:r>
            <a:r>
              <a:rPr lang="de-DE" dirty="0" err="1"/>
              <a:t>key</a:t>
            </a:r>
            <a:r>
              <a:rPr lang="de-DE" dirty="0"/>
              <a:t> </a:t>
            </a:r>
            <a:r>
              <a:rPr lang="de-DE" dirty="0" err="1"/>
              <a:t>exchange</a:t>
            </a:r>
            <a:endParaRPr lang="de-DE" dirty="0"/>
          </a:p>
          <a:p>
            <a:r>
              <a:rPr lang="de-DE" dirty="0"/>
              <a:t>SM3: </a:t>
            </a:r>
            <a:r>
              <a:rPr lang="de-DE" dirty="0" err="1"/>
              <a:t>hash</a:t>
            </a:r>
            <a:r>
              <a:rPr lang="de-DE" dirty="0"/>
              <a:t> </a:t>
            </a:r>
            <a:r>
              <a:rPr lang="de-DE" dirty="0" err="1"/>
              <a:t>function</a:t>
            </a:r>
            <a:endParaRPr lang="de-DE" dirty="0"/>
          </a:p>
          <a:p>
            <a:r>
              <a:rPr lang="de-DE" dirty="0"/>
              <a:t>SM4: </a:t>
            </a:r>
            <a:r>
              <a:rPr lang="de-DE" dirty="0" err="1"/>
              <a:t>symmetric-key</a:t>
            </a:r>
            <a:r>
              <a:rPr lang="de-DE" dirty="0"/>
              <a:t> block </a:t>
            </a:r>
            <a:r>
              <a:rPr lang="de-DE" dirty="0" err="1"/>
              <a:t>cipher</a:t>
            </a:r>
            <a:r>
              <a:rPr lang="de-DE" dirty="0"/>
              <a:t> </a:t>
            </a:r>
            <a:r>
              <a:rPr lang="de-DE" dirty="0" err="1"/>
              <a:t>for</a:t>
            </a:r>
            <a:r>
              <a:rPr lang="de-DE" dirty="0"/>
              <a:t> </a:t>
            </a:r>
            <a:r>
              <a:rPr lang="de-DE" dirty="0" err="1"/>
              <a:t>data</a:t>
            </a:r>
            <a:r>
              <a:rPr lang="de-DE" dirty="0"/>
              <a:t> </a:t>
            </a:r>
            <a:r>
              <a:rPr lang="de-DE" dirty="0" err="1"/>
              <a:t>encryption</a:t>
            </a:r>
            <a:r>
              <a:rPr lang="de-DE" dirty="0"/>
              <a:t>/</a:t>
            </a:r>
            <a:r>
              <a:rPr lang="de-DE" dirty="0" err="1"/>
              <a:t>decryption</a:t>
            </a:r>
            <a:endParaRPr lang="de-DE" dirty="0"/>
          </a:p>
          <a:p>
            <a:endParaRPr lang="de-DE" dirty="0"/>
          </a:p>
        </p:txBody>
      </p:sp>
      <p:sp>
        <p:nvSpPr>
          <p:cNvPr id="4" name="Foliennummernplatzhalter 3"/>
          <p:cNvSpPr>
            <a:spLocks noGrp="1"/>
          </p:cNvSpPr>
          <p:nvPr>
            <p:ph type="sldNum" sz="quarter" idx="5"/>
          </p:nvPr>
        </p:nvSpPr>
        <p:spPr/>
        <p:txBody>
          <a:bodyPr/>
          <a:lstStyle/>
          <a:p>
            <a:fld id="{9502F7FA-3984-4F9D-BF36-30DAB3280DBC}" type="slidenum">
              <a:rPr lang="de-DE" smtClean="0"/>
              <a:t>15</a:t>
            </a:fld>
            <a:endParaRPr lang="de-DE"/>
          </a:p>
        </p:txBody>
      </p:sp>
    </p:spTree>
    <p:extLst>
      <p:ext uri="{BB962C8B-B14F-4D97-AF65-F5344CB8AC3E}">
        <p14:creationId xmlns:p14="http://schemas.microsoft.com/office/powerpoint/2010/main" val="280955069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18.5min</a:t>
            </a:r>
          </a:p>
          <a:p>
            <a:endParaRPr lang="de-DE" dirty="0"/>
          </a:p>
          <a:p>
            <a:r>
              <a:rPr lang="de-DE" dirty="0"/>
              <a:t>CRA: </a:t>
            </a:r>
            <a:r>
              <a:rPr lang="de-DE" dirty="0" err="1"/>
              <a:t>first</a:t>
            </a:r>
            <a:r>
              <a:rPr lang="de-DE" dirty="0"/>
              <a:t> </a:t>
            </a:r>
            <a:r>
              <a:rPr lang="de-DE" dirty="0" err="1"/>
              <a:t>early</a:t>
            </a:r>
            <a:r>
              <a:rPr lang="de-DE" dirty="0"/>
              <a:t> </a:t>
            </a:r>
            <a:r>
              <a:rPr lang="de-DE" dirty="0" err="1"/>
              <a:t>warning</a:t>
            </a:r>
            <a:r>
              <a:rPr lang="de-DE" dirty="0"/>
              <a:t> </a:t>
            </a:r>
            <a:r>
              <a:rPr lang="de-DE" dirty="0" err="1"/>
              <a:t>notification</a:t>
            </a:r>
            <a:r>
              <a:rPr lang="de-DE" dirty="0"/>
              <a:t> </a:t>
            </a:r>
            <a:r>
              <a:rPr lang="de-DE" dirty="0" err="1"/>
              <a:t>to</a:t>
            </a:r>
            <a:r>
              <a:rPr lang="de-DE" dirty="0"/>
              <a:t> ENISA </a:t>
            </a:r>
            <a:r>
              <a:rPr lang="de-DE" dirty="0" err="1"/>
              <a:t>within</a:t>
            </a:r>
            <a:r>
              <a:rPr lang="de-DE" dirty="0"/>
              <a:t> 24 </a:t>
            </a:r>
            <a:r>
              <a:rPr lang="de-DE" dirty="0" err="1"/>
              <a:t>hrs</a:t>
            </a:r>
            <a:r>
              <a:rPr lang="de-DE" dirty="0"/>
              <a:t>, </a:t>
            </a:r>
            <a:r>
              <a:rPr lang="de-DE" dirty="0" err="1"/>
              <a:t>more</a:t>
            </a:r>
            <a:r>
              <a:rPr lang="de-DE" dirty="0"/>
              <a:t> </a:t>
            </a:r>
            <a:r>
              <a:rPr lang="de-DE" dirty="0" err="1"/>
              <a:t>details</a:t>
            </a:r>
            <a:r>
              <a:rPr lang="de-DE" dirty="0"/>
              <a:t> </a:t>
            </a:r>
            <a:r>
              <a:rPr lang="de-DE" dirty="0" err="1"/>
              <a:t>about</a:t>
            </a:r>
            <a:r>
              <a:rPr lang="de-DE" dirty="0"/>
              <a:t> </a:t>
            </a:r>
            <a:r>
              <a:rPr lang="de-DE" dirty="0" err="1"/>
              <a:t>affected</a:t>
            </a:r>
            <a:r>
              <a:rPr lang="de-DE" dirty="0"/>
              <a:t> </a:t>
            </a:r>
            <a:r>
              <a:rPr lang="de-DE" dirty="0" err="1"/>
              <a:t>product</a:t>
            </a:r>
            <a:r>
              <a:rPr lang="de-DE" dirty="0"/>
              <a:t>, </a:t>
            </a:r>
            <a:r>
              <a:rPr lang="de-DE" dirty="0" err="1"/>
              <a:t>nature</a:t>
            </a:r>
            <a:r>
              <a:rPr lang="de-DE" dirty="0"/>
              <a:t> </a:t>
            </a:r>
            <a:r>
              <a:rPr lang="de-DE" dirty="0" err="1"/>
              <a:t>of</a:t>
            </a:r>
            <a:r>
              <a:rPr lang="de-DE" dirty="0"/>
              <a:t> </a:t>
            </a:r>
            <a:r>
              <a:rPr lang="de-DE" dirty="0" err="1"/>
              <a:t>exploit</a:t>
            </a:r>
            <a:r>
              <a:rPr lang="de-DE" dirty="0"/>
              <a:t> and </a:t>
            </a:r>
            <a:r>
              <a:rPr lang="de-DE" dirty="0" err="1"/>
              <a:t>vulnerability</a:t>
            </a:r>
            <a:r>
              <a:rPr lang="de-DE" dirty="0"/>
              <a:t>, </a:t>
            </a:r>
            <a:r>
              <a:rPr lang="de-DE" dirty="0" err="1"/>
              <a:t>corrective</a:t>
            </a:r>
            <a:r>
              <a:rPr lang="de-DE" dirty="0"/>
              <a:t> </a:t>
            </a:r>
            <a:r>
              <a:rPr lang="de-DE" dirty="0" err="1"/>
              <a:t>or</a:t>
            </a:r>
            <a:r>
              <a:rPr lang="de-DE" dirty="0"/>
              <a:t> </a:t>
            </a:r>
            <a:r>
              <a:rPr lang="de-DE" dirty="0" err="1"/>
              <a:t>mitigating</a:t>
            </a:r>
            <a:r>
              <a:rPr lang="de-DE" dirty="0"/>
              <a:t> </a:t>
            </a:r>
            <a:r>
              <a:rPr lang="de-DE" dirty="0" err="1"/>
              <a:t>measures</a:t>
            </a:r>
            <a:r>
              <a:rPr lang="de-DE" dirty="0"/>
              <a:t> </a:t>
            </a:r>
            <a:r>
              <a:rPr lang="de-DE" dirty="0" err="1"/>
              <a:t>taken</a:t>
            </a:r>
            <a:r>
              <a:rPr lang="de-DE" dirty="0"/>
              <a:t> etc. </a:t>
            </a:r>
            <a:r>
              <a:rPr lang="de-DE" dirty="0" err="1"/>
              <a:t>within</a:t>
            </a:r>
            <a:r>
              <a:rPr lang="de-DE" dirty="0"/>
              <a:t> 72 </a:t>
            </a:r>
            <a:r>
              <a:rPr lang="de-DE" dirty="0" err="1"/>
              <a:t>hrs</a:t>
            </a:r>
            <a:endParaRPr lang="de-DE" dirty="0"/>
          </a:p>
          <a:p>
            <a:endParaRPr lang="de-DE" dirty="0"/>
          </a:p>
          <a:p>
            <a:r>
              <a:rPr lang="de-DE" dirty="0"/>
              <a:t>UNR: end-</a:t>
            </a:r>
            <a:r>
              <a:rPr lang="de-DE" dirty="0" err="1"/>
              <a:t>of</a:t>
            </a:r>
            <a:r>
              <a:rPr lang="de-DE" dirty="0"/>
              <a:t>-</a:t>
            </a:r>
            <a:r>
              <a:rPr lang="de-DE" dirty="0" err="1"/>
              <a:t>life</a:t>
            </a:r>
            <a:r>
              <a:rPr lang="de-DE" dirty="0"/>
              <a:t> </a:t>
            </a:r>
            <a:r>
              <a:rPr lang="de-DE" dirty="0" err="1"/>
              <a:t>could</a:t>
            </a:r>
            <a:r>
              <a:rPr lang="de-DE" dirty="0"/>
              <a:t> </a:t>
            </a:r>
            <a:r>
              <a:rPr lang="de-DE" dirty="0" err="1"/>
              <a:t>be</a:t>
            </a:r>
            <a:r>
              <a:rPr lang="de-DE" dirty="0"/>
              <a:t> 10-15 </a:t>
            </a:r>
            <a:r>
              <a:rPr lang="de-DE" dirty="0" err="1"/>
              <a:t>yrs</a:t>
            </a:r>
            <a:endParaRPr lang="de-DE" dirty="0"/>
          </a:p>
          <a:p>
            <a:endParaRPr lang="de-DE" dirty="0"/>
          </a:p>
          <a:p>
            <a:endParaRPr lang="de-DE" dirty="0"/>
          </a:p>
        </p:txBody>
      </p:sp>
      <p:sp>
        <p:nvSpPr>
          <p:cNvPr id="4" name="Foliennummernplatzhalter 3"/>
          <p:cNvSpPr>
            <a:spLocks noGrp="1"/>
          </p:cNvSpPr>
          <p:nvPr>
            <p:ph type="sldNum" sz="quarter" idx="5"/>
          </p:nvPr>
        </p:nvSpPr>
        <p:spPr/>
        <p:txBody>
          <a:bodyPr/>
          <a:lstStyle/>
          <a:p>
            <a:fld id="{9502F7FA-3984-4F9D-BF36-30DAB3280DBC}" type="slidenum">
              <a:rPr lang="de-DE" smtClean="0"/>
              <a:t>16</a:t>
            </a:fld>
            <a:endParaRPr lang="de-DE"/>
          </a:p>
        </p:txBody>
      </p:sp>
    </p:spTree>
    <p:extLst>
      <p:ext uri="{BB962C8B-B14F-4D97-AF65-F5344CB8AC3E}">
        <p14:creationId xmlns:p14="http://schemas.microsoft.com/office/powerpoint/2010/main" val="400311632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20min</a:t>
            </a:r>
          </a:p>
        </p:txBody>
      </p:sp>
      <p:sp>
        <p:nvSpPr>
          <p:cNvPr id="4" name="Slide Number Placeholder 3"/>
          <p:cNvSpPr>
            <a:spLocks noGrp="1"/>
          </p:cNvSpPr>
          <p:nvPr>
            <p:ph type="sldNum" sz="quarter" idx="5"/>
          </p:nvPr>
        </p:nvSpPr>
        <p:spPr/>
        <p:txBody>
          <a:bodyPr/>
          <a:lstStyle/>
          <a:p>
            <a:fld id="{9502F7FA-3984-4F9D-BF36-30DAB3280DBC}" type="slidenum">
              <a:rPr lang="de-DE" smtClean="0"/>
              <a:t>17</a:t>
            </a:fld>
            <a:endParaRPr lang="de-DE"/>
          </a:p>
        </p:txBody>
      </p:sp>
    </p:spTree>
    <p:extLst>
      <p:ext uri="{BB962C8B-B14F-4D97-AF65-F5344CB8AC3E}">
        <p14:creationId xmlns:p14="http://schemas.microsoft.com/office/powerpoint/2010/main" val="354824387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20min</a:t>
            </a:r>
          </a:p>
          <a:p>
            <a:endParaRPr lang="en-US" dirty="0"/>
          </a:p>
          <a:p>
            <a:r>
              <a:rPr lang="en-US" dirty="0"/>
              <a:t>Majorana 1: different approach to building fault-tolerant qubits -&gt; low error rates and high stability</a:t>
            </a:r>
          </a:p>
          <a:p>
            <a:r>
              <a:rPr lang="en-US" dirty="0"/>
              <a:t>Today’s superconducting and trapped ion qubits require thousands of physical qubits to make one logical qubit</a:t>
            </a:r>
          </a:p>
          <a:p>
            <a:r>
              <a:rPr lang="en-US" dirty="0"/>
              <a:t>-&gt; If </a:t>
            </a:r>
            <a:r>
              <a:rPr lang="en-US" dirty="0" err="1"/>
              <a:t>Majorna</a:t>
            </a:r>
            <a:r>
              <a:rPr lang="en-US" dirty="0"/>
              <a:t> 1 is successful could accelerate path to practical scalable quantum computing</a:t>
            </a:r>
          </a:p>
          <a:p>
            <a:endParaRPr lang="en-US" dirty="0"/>
          </a:p>
          <a:p>
            <a:r>
              <a:rPr lang="en-US" dirty="0"/>
              <a:t>First quantum OS: </a:t>
            </a:r>
            <a:r>
              <a:rPr lang="en-US" dirty="0" err="1"/>
              <a:t>QNodeOS</a:t>
            </a:r>
            <a:endParaRPr lang="en-US" dirty="0"/>
          </a:p>
          <a:p>
            <a:r>
              <a:rPr lang="en-US" dirty="0"/>
              <a:t>Can manage and execute applications across quantum network nodes -&gt; facilitate scalable and functional quantum internet</a:t>
            </a:r>
          </a:p>
          <a:p>
            <a:endParaRPr lang="en-US" dirty="0"/>
          </a:p>
          <a:p>
            <a:r>
              <a:rPr lang="en-US" dirty="0"/>
              <a:t>256 qubit – other quantum systems have achieved higher qubit counts but</a:t>
            </a:r>
          </a:p>
          <a:p>
            <a:r>
              <a:rPr lang="en-US" dirty="0"/>
              <a:t>Fujitsu and </a:t>
            </a:r>
            <a:r>
              <a:rPr lang="en-US" dirty="0" err="1"/>
              <a:t>riken</a:t>
            </a:r>
            <a:r>
              <a:rPr lang="en-US" dirty="0"/>
              <a:t> stands out because advanced thermal design, integration between quantum computing and HPC (hybrid) and strategic roadmap for 1000 qubits</a:t>
            </a:r>
          </a:p>
          <a:p>
            <a:r>
              <a:rPr lang="en-US" dirty="0"/>
              <a:t>256 qubit quantum computer can represent 2^256 different quantum states simultaneously</a:t>
            </a:r>
          </a:p>
          <a:p>
            <a:r>
              <a:rPr lang="en-US" dirty="0"/>
              <a:t>256 qubit not powerful yet to break modern crypto</a:t>
            </a:r>
          </a:p>
          <a:p>
            <a:r>
              <a:rPr lang="en-US" dirty="0"/>
              <a:t>Today’s </a:t>
            </a:r>
            <a:r>
              <a:rPr lang="en-US" dirty="0" err="1"/>
              <a:t>quatum</a:t>
            </a:r>
            <a:r>
              <a:rPr lang="en-US" dirty="0"/>
              <a:t> computers are noisy (prone to errors) and lack error correction</a:t>
            </a:r>
          </a:p>
          <a:p>
            <a:r>
              <a:rPr lang="en-US" dirty="0"/>
              <a:t>To break e.g. RSA-2048, need estimated thousands to millions of logical qubits (not physical qubits but logical ones after correction)</a:t>
            </a:r>
          </a:p>
          <a:p>
            <a:endParaRPr lang="en-US" dirty="0"/>
          </a:p>
          <a:p>
            <a:endParaRPr lang="en-US" dirty="0"/>
          </a:p>
          <a:p>
            <a:r>
              <a:rPr lang="en-US" dirty="0"/>
              <a:t>https://news.microsoft.com/source/features/innovation/microsofts-majorana-1-chip-carves-new-path-for-quantum-computing/</a:t>
            </a:r>
          </a:p>
          <a:p>
            <a:r>
              <a:rPr lang="en-US" b="0" i="0" dirty="0">
                <a:solidFill>
                  <a:srgbClr val="000000"/>
                </a:solidFill>
                <a:effectLst/>
                <a:latin typeface="Segoe UI" panose="020B0502040204020203" pitchFamily="34" charset="0"/>
              </a:rPr>
              <a:t>Microsoft today </a:t>
            </a:r>
            <a:r>
              <a:rPr lang="en-US" b="0" i="0" u="none" strike="noStrike" dirty="0">
                <a:effectLst/>
                <a:latin typeface="Segoe UI" panose="020B0502040204020203" pitchFamily="34" charset="0"/>
                <a:hlinkClick r:id="rId3"/>
              </a:rPr>
              <a:t>introduced Majorana 1</a:t>
            </a:r>
            <a:r>
              <a:rPr lang="en-US" b="0" i="0" dirty="0">
                <a:solidFill>
                  <a:srgbClr val="000000"/>
                </a:solidFill>
                <a:effectLst/>
                <a:latin typeface="Segoe UI" panose="020B0502040204020203" pitchFamily="34" charset="0"/>
              </a:rPr>
              <a:t>, the world’s first quantum chip powered by a new Topological Core architecture that it expects will realize quantum computers capable of solving meaningful, industrial-scale problems in years, not decades.</a:t>
            </a:r>
            <a:endParaRPr lang="en-US" dirty="0"/>
          </a:p>
          <a:p>
            <a:r>
              <a:rPr lang="en-US" dirty="0"/>
              <a:t>I</a:t>
            </a:r>
            <a:r>
              <a:rPr lang="en-US" b="0" i="0" dirty="0">
                <a:solidFill>
                  <a:srgbClr val="000000"/>
                </a:solidFill>
                <a:effectLst/>
                <a:latin typeface="Segoe UI" panose="020B0502040204020203" pitchFamily="34" charset="0"/>
              </a:rPr>
              <a:t>n the same way that the invention of semiconductors made today’s smartphones, computers and electronics possible, </a:t>
            </a:r>
            <a:r>
              <a:rPr lang="en-US" b="0" i="0" u="none" strike="noStrike" dirty="0" err="1">
                <a:effectLst/>
                <a:latin typeface="Segoe UI" panose="020B0502040204020203" pitchFamily="34" charset="0"/>
                <a:hlinkClick r:id="rId4"/>
              </a:rPr>
              <a:t>topoconductors</a:t>
            </a:r>
            <a:r>
              <a:rPr lang="en-US" b="0" i="0" u="none" strike="noStrike" dirty="0">
                <a:effectLst/>
                <a:latin typeface="Segoe UI" panose="020B0502040204020203" pitchFamily="34" charset="0"/>
                <a:hlinkClick r:id="rId4"/>
              </a:rPr>
              <a:t> and the new type of chip they enable</a:t>
            </a:r>
            <a:r>
              <a:rPr lang="en-US" b="0" i="0" dirty="0">
                <a:solidFill>
                  <a:srgbClr val="000000"/>
                </a:solidFill>
                <a:effectLst/>
                <a:latin typeface="Segoe UI" panose="020B0502040204020203" pitchFamily="34" charset="0"/>
              </a:rPr>
              <a:t> offer a path to developing quantum systems that can scale to a million qubits and are capable of tackling the most complex industrial and societal problems, Microsoft said.</a:t>
            </a:r>
            <a:endParaRPr lang="en-US" dirty="0"/>
          </a:p>
          <a:p>
            <a:pPr marL="0" marR="0" lvl="0" indent="0" algn="l" defTabSz="863995" rtl="0" eaLnBrk="1" fontAlgn="auto" latinLnBrk="0" hangingPunct="1">
              <a:lnSpc>
                <a:spcPct val="100000"/>
              </a:lnSpc>
              <a:spcBef>
                <a:spcPts val="0"/>
              </a:spcBef>
              <a:spcAft>
                <a:spcPts val="0"/>
              </a:spcAft>
              <a:buClrTx/>
              <a:buSzTx/>
              <a:buFontTx/>
              <a:buNone/>
              <a:tabLst/>
              <a:defRPr/>
            </a:pPr>
            <a:endParaRPr lang="en-US" dirty="0"/>
          </a:p>
          <a:p>
            <a:pPr marL="0" marR="0" lvl="0" indent="0" algn="l" defTabSz="863995" rtl="0" eaLnBrk="1" fontAlgn="auto" latinLnBrk="0" hangingPunct="1">
              <a:lnSpc>
                <a:spcPct val="100000"/>
              </a:lnSpc>
              <a:spcBef>
                <a:spcPts val="0"/>
              </a:spcBef>
              <a:spcAft>
                <a:spcPts val="0"/>
              </a:spcAft>
              <a:buClrTx/>
              <a:buSzTx/>
              <a:buFontTx/>
              <a:buNone/>
              <a:tabLst/>
              <a:defRPr/>
            </a:pPr>
            <a:endParaRPr lang="en-US" dirty="0"/>
          </a:p>
          <a:p>
            <a:pPr marL="0" marR="0" lvl="0" indent="0" algn="l" defTabSz="863995" rtl="0" eaLnBrk="1" fontAlgn="auto" latinLnBrk="0" hangingPunct="1">
              <a:lnSpc>
                <a:spcPct val="100000"/>
              </a:lnSpc>
              <a:spcBef>
                <a:spcPts val="0"/>
              </a:spcBef>
              <a:spcAft>
                <a:spcPts val="0"/>
              </a:spcAft>
              <a:buClrTx/>
              <a:buSzTx/>
              <a:buFontTx/>
              <a:buNone/>
              <a:tabLst/>
              <a:defRPr/>
            </a:pPr>
            <a:r>
              <a:rPr lang="en-US" dirty="0"/>
              <a:t>https://content.techgig.com/technology/the-dawn-of-quantum-computing-introducing-qnodeos-the-first-quantum-operating-system/articleshow/120586133.cms</a:t>
            </a:r>
          </a:p>
          <a:p>
            <a:r>
              <a:rPr lang="en-US" b="0" i="0" dirty="0">
                <a:solidFill>
                  <a:srgbClr val="5C5C5C"/>
                </a:solidFill>
                <a:effectLst/>
                <a:latin typeface="Rubik"/>
              </a:rPr>
              <a:t>Quantum computing advances with </a:t>
            </a:r>
            <a:r>
              <a:rPr lang="en-US" b="0" i="0" dirty="0" err="1">
                <a:solidFill>
                  <a:srgbClr val="5C5C5C"/>
                </a:solidFill>
                <a:effectLst/>
                <a:latin typeface="Rubik"/>
              </a:rPr>
              <a:t>QNodeOS</a:t>
            </a:r>
            <a:r>
              <a:rPr lang="en-US" b="0" i="0" dirty="0">
                <a:solidFill>
                  <a:srgbClr val="5C5C5C"/>
                </a:solidFill>
                <a:effectLst/>
                <a:latin typeface="Rubik"/>
              </a:rPr>
              <a:t>. It is the first operating system for quantum computers. It supports different quantum systems. This solves compatibility issues. </a:t>
            </a:r>
            <a:r>
              <a:rPr lang="en-US" b="0" i="0" dirty="0" err="1">
                <a:solidFill>
                  <a:srgbClr val="5C5C5C"/>
                </a:solidFill>
                <a:effectLst/>
                <a:latin typeface="Rubik"/>
              </a:rPr>
              <a:t>QNodeOS</a:t>
            </a:r>
            <a:r>
              <a:rPr lang="en-US" b="0" i="0" dirty="0">
                <a:solidFill>
                  <a:srgbClr val="5C5C5C"/>
                </a:solidFill>
                <a:effectLst/>
                <a:latin typeface="Rubik"/>
              </a:rPr>
              <a:t> has two parts: CNPU and QNPU. It uses </a:t>
            </a:r>
            <a:r>
              <a:rPr lang="en-US" b="0" i="0" dirty="0" err="1">
                <a:solidFill>
                  <a:srgbClr val="5C5C5C"/>
                </a:solidFill>
                <a:effectLst/>
                <a:latin typeface="Rubik"/>
              </a:rPr>
              <a:t>NetQASM</a:t>
            </a:r>
            <a:r>
              <a:rPr lang="en-US" b="0" i="0" dirty="0">
                <a:solidFill>
                  <a:srgbClr val="5C5C5C"/>
                </a:solidFill>
                <a:effectLst/>
                <a:latin typeface="Rubik"/>
              </a:rPr>
              <a:t> for instructions. Researchers tested it by linking quantum computers. Future plans include more tests and improvements. </a:t>
            </a:r>
            <a:r>
              <a:rPr lang="en-US" b="0" i="0" dirty="0" err="1">
                <a:solidFill>
                  <a:srgbClr val="5C5C5C"/>
                </a:solidFill>
                <a:effectLst/>
                <a:latin typeface="Rubik"/>
              </a:rPr>
              <a:t>QNodeOS</a:t>
            </a:r>
            <a:r>
              <a:rPr lang="en-US" b="0" i="0" dirty="0">
                <a:solidFill>
                  <a:srgbClr val="5C5C5C"/>
                </a:solidFill>
                <a:effectLst/>
                <a:latin typeface="Rubik"/>
              </a:rPr>
              <a:t> may lead to advancements in various fields.</a:t>
            </a:r>
          </a:p>
          <a:p>
            <a:r>
              <a:rPr lang="en-US" b="0" i="0" dirty="0">
                <a:solidFill>
                  <a:srgbClr val="333333"/>
                </a:solidFill>
                <a:effectLst/>
                <a:latin typeface="Rubik"/>
              </a:rPr>
              <a:t>Quantum computers don’t use standard parts. Each machine can use a different kind of qubit. Some use atoms, others use diamonds, and a few use superconductors. </a:t>
            </a:r>
            <a:r>
              <a:rPr lang="en-US" b="0" i="0" dirty="0" err="1">
                <a:solidFill>
                  <a:srgbClr val="333333"/>
                </a:solidFill>
                <a:effectLst/>
                <a:latin typeface="Rubik"/>
              </a:rPr>
              <a:t>QNodeOS</a:t>
            </a:r>
            <a:r>
              <a:rPr lang="en-US" b="0" i="0" dirty="0">
                <a:solidFill>
                  <a:srgbClr val="333333"/>
                </a:solidFill>
                <a:effectLst/>
                <a:latin typeface="Rubik"/>
              </a:rPr>
              <a:t> connects them all.</a:t>
            </a:r>
          </a:p>
          <a:p>
            <a:pPr algn="l">
              <a:spcBef>
                <a:spcPts val="375"/>
              </a:spcBef>
              <a:spcAft>
                <a:spcPts val="750"/>
              </a:spcAft>
              <a:buFont typeface="Arial" panose="020B0604020202020204" pitchFamily="34" charset="0"/>
              <a:buChar char="•"/>
            </a:pPr>
            <a:r>
              <a:rPr lang="en-US" b="0" i="0" dirty="0" err="1">
                <a:solidFill>
                  <a:srgbClr val="333333"/>
                </a:solidFill>
                <a:effectLst/>
                <a:latin typeface="Rubik"/>
              </a:rPr>
              <a:t>QNodeOS</a:t>
            </a:r>
            <a:r>
              <a:rPr lang="en-US" b="0" i="0" dirty="0">
                <a:solidFill>
                  <a:srgbClr val="333333"/>
                </a:solidFill>
                <a:effectLst/>
                <a:latin typeface="Rubik"/>
              </a:rPr>
              <a:t> has a cool combo of two main parts:</a:t>
            </a:r>
            <a:br>
              <a:rPr lang="en-US" dirty="0"/>
            </a:br>
            <a:r>
              <a:rPr lang="en-US" b="1" i="0" dirty="0">
                <a:solidFill>
                  <a:srgbClr val="333333"/>
                </a:solidFill>
                <a:effectLst/>
                <a:latin typeface="Rubik"/>
              </a:rPr>
              <a:t>CNPU (Classical Network Processing Unit): </a:t>
            </a:r>
            <a:r>
              <a:rPr lang="en-US" b="0" i="0" dirty="0">
                <a:solidFill>
                  <a:srgbClr val="333333"/>
                </a:solidFill>
                <a:effectLst/>
                <a:latin typeface="Rubik"/>
              </a:rPr>
              <a:t>This kicks off code execution.</a:t>
            </a:r>
          </a:p>
          <a:p>
            <a:pPr algn="l">
              <a:spcBef>
                <a:spcPts val="375"/>
              </a:spcBef>
              <a:spcAft>
                <a:spcPts val="750"/>
              </a:spcAft>
              <a:buFont typeface="Arial" panose="020B0604020202020204" pitchFamily="34" charset="0"/>
              <a:buChar char="•"/>
            </a:pPr>
            <a:r>
              <a:rPr lang="en-US" b="1" i="0" dirty="0">
                <a:solidFill>
                  <a:srgbClr val="333333"/>
                </a:solidFill>
                <a:effectLst/>
                <a:latin typeface="Rubik"/>
              </a:rPr>
              <a:t>QNPU (Quantum Network Processing Unit): </a:t>
            </a:r>
            <a:r>
              <a:rPr lang="en-US" b="0" i="0" dirty="0">
                <a:solidFill>
                  <a:srgbClr val="333333"/>
                </a:solidFill>
                <a:effectLst/>
                <a:latin typeface="Rubik"/>
              </a:rPr>
              <a:t>This handles all </a:t>
            </a:r>
            <a:r>
              <a:rPr lang="en-US" b="0" i="0" u="none" strike="noStrike" dirty="0">
                <a:solidFill>
                  <a:srgbClr val="0D6EFD"/>
                </a:solidFill>
                <a:effectLst/>
                <a:latin typeface="Rubik"/>
                <a:hlinkClick r:id="rId5"/>
              </a:rPr>
              <a:t>quantum instructions</a:t>
            </a:r>
            <a:r>
              <a:rPr lang="en-US" b="0" i="0" dirty="0">
                <a:solidFill>
                  <a:srgbClr val="333333"/>
                </a:solidFill>
                <a:effectLst/>
                <a:latin typeface="Rubik"/>
              </a:rPr>
              <a:t>.</a:t>
            </a:r>
          </a:p>
          <a:p>
            <a:endParaRPr lang="en-US" b="0" i="0" dirty="0">
              <a:solidFill>
                <a:srgbClr val="333333"/>
              </a:solidFill>
              <a:effectLst/>
              <a:latin typeface="Rubik"/>
            </a:endParaRPr>
          </a:p>
          <a:p>
            <a:endParaRPr lang="en-US" b="0" i="0" dirty="0">
              <a:solidFill>
                <a:srgbClr val="333333"/>
              </a:solidFill>
              <a:effectLst/>
              <a:latin typeface="Rubik"/>
            </a:endParaRPr>
          </a:p>
          <a:p>
            <a:endParaRPr lang="en-US" b="0" i="0" dirty="0">
              <a:solidFill>
                <a:srgbClr val="333333"/>
              </a:solidFill>
              <a:effectLst/>
              <a:latin typeface="Rubik"/>
            </a:endParaRPr>
          </a:p>
          <a:p>
            <a:r>
              <a:rPr lang="en-US" b="0" i="0" dirty="0">
                <a:solidFill>
                  <a:srgbClr val="333333"/>
                </a:solidFill>
                <a:effectLst/>
                <a:latin typeface="Rubik"/>
              </a:rPr>
              <a:t>https://www.fujitsu.com/global/about/resources/news/press-releases/2025/0422-01.html</a:t>
            </a:r>
          </a:p>
          <a:p>
            <a:pPr algn="l">
              <a:spcBef>
                <a:spcPts val="2550"/>
              </a:spcBef>
              <a:buNone/>
            </a:pPr>
            <a:r>
              <a:rPr lang="en-US" b="0" i="0" dirty="0">
                <a:solidFill>
                  <a:srgbClr val="000000"/>
                </a:solidFill>
                <a:effectLst/>
                <a:latin typeface="FujitsuInfinityPro-Regular"/>
              </a:rPr>
              <a:t>Fujitsu Limited and RIKEN today announced the development of a world-leading 256-qubit superconducting quantum computer, established at the RIKEN RQC-FUJITSU Collaboration Center. This new quantum computer builds upon the advanced technology of the 64-qubit iteration, launched with the support of the Japanese Ministry of Education, Culture, Sports, Science and Technology (MEXT)</a:t>
            </a:r>
            <a:r>
              <a:rPr lang="en-US" b="0" i="0" baseline="30000" dirty="0">
                <a:solidFill>
                  <a:srgbClr val="000000"/>
                </a:solidFill>
                <a:effectLst/>
                <a:latin typeface="FujitsuInfinityPro-Regular"/>
              </a:rPr>
              <a:t>(</a:t>
            </a:r>
            <a:r>
              <a:rPr lang="en-US" b="0" i="0" u="sng" baseline="30000" dirty="0">
                <a:solidFill>
                  <a:srgbClr val="000000"/>
                </a:solidFill>
                <a:effectLst/>
                <a:latin typeface="FujitsuInfinityPro-Regular"/>
                <a:hlinkClick r:id="rId6"/>
              </a:rPr>
              <a:t>1</a:t>
            </a:r>
            <a:r>
              <a:rPr lang="en-US" b="0" i="0" baseline="30000" dirty="0">
                <a:solidFill>
                  <a:srgbClr val="000000"/>
                </a:solidFill>
                <a:effectLst/>
                <a:latin typeface="FujitsuInfinityPro-Regular"/>
              </a:rPr>
              <a:t>)</a:t>
            </a:r>
            <a:r>
              <a:rPr lang="en-US" b="0" i="0" dirty="0">
                <a:solidFill>
                  <a:srgbClr val="000000"/>
                </a:solidFill>
                <a:effectLst/>
                <a:latin typeface="FujitsuInfinityPro-Regular"/>
              </a:rPr>
              <a:t> in October 2023, and incorporates newly-developed high-density implementation techniques. This announcement marks another crucial step toward the practical application of superconducting quantum computers and unlocking their potential to grapple with some of the world’s most complex issues.</a:t>
            </a:r>
          </a:p>
          <a:p>
            <a:pPr algn="l">
              <a:spcBef>
                <a:spcPts val="2550"/>
              </a:spcBef>
            </a:pPr>
            <a:r>
              <a:rPr lang="en-US" b="0" i="0" dirty="0">
                <a:solidFill>
                  <a:srgbClr val="000000"/>
                </a:solidFill>
                <a:effectLst/>
                <a:latin typeface="FujitsuInfinityPro-Regular"/>
              </a:rPr>
              <a:t>Both organizations will integrate the 256-qubit superconducting quantum computer into its platform for hybrid quantum computing lineup and offer it to companies and research institutions globally starting in the first quarter of fiscal 2025. The platform's expansion from 64 to 256 qubits empowers users to tackle more complex challenges, including the analysis of larger molecules and the implementation and demonstration of sophisticated error correction algorithms.</a:t>
            </a:r>
          </a:p>
          <a:p>
            <a:endParaRPr lang="en-US" b="0" i="0" dirty="0">
              <a:solidFill>
                <a:srgbClr val="333333"/>
              </a:solidFill>
              <a:effectLst/>
              <a:latin typeface="Rubik"/>
            </a:endParaRPr>
          </a:p>
          <a:p>
            <a:endParaRPr lang="en-US" dirty="0"/>
          </a:p>
        </p:txBody>
      </p:sp>
      <p:sp>
        <p:nvSpPr>
          <p:cNvPr id="4" name="Slide Number Placeholder 3"/>
          <p:cNvSpPr>
            <a:spLocks noGrp="1"/>
          </p:cNvSpPr>
          <p:nvPr>
            <p:ph type="sldNum" sz="quarter" idx="5"/>
          </p:nvPr>
        </p:nvSpPr>
        <p:spPr/>
        <p:txBody>
          <a:bodyPr/>
          <a:lstStyle/>
          <a:p>
            <a:fld id="{9502F7FA-3984-4F9D-BF36-30DAB3280DBC}" type="slidenum">
              <a:rPr lang="de-DE" smtClean="0"/>
              <a:t>18</a:t>
            </a:fld>
            <a:endParaRPr lang="de-DE"/>
          </a:p>
        </p:txBody>
      </p:sp>
    </p:spTree>
    <p:extLst>
      <p:ext uri="{BB962C8B-B14F-4D97-AF65-F5344CB8AC3E}">
        <p14:creationId xmlns:p14="http://schemas.microsoft.com/office/powerpoint/2010/main" val="242154278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21min</a:t>
            </a:r>
          </a:p>
        </p:txBody>
      </p:sp>
      <p:sp>
        <p:nvSpPr>
          <p:cNvPr id="4" name="Slide Number Placeholder 3"/>
          <p:cNvSpPr>
            <a:spLocks noGrp="1"/>
          </p:cNvSpPr>
          <p:nvPr>
            <p:ph type="sldNum" sz="quarter" idx="5"/>
          </p:nvPr>
        </p:nvSpPr>
        <p:spPr/>
        <p:txBody>
          <a:bodyPr/>
          <a:lstStyle/>
          <a:p>
            <a:fld id="{9502F7FA-3984-4F9D-BF36-30DAB3280DBC}" type="slidenum">
              <a:rPr lang="de-DE" smtClean="0"/>
              <a:t>19</a:t>
            </a:fld>
            <a:endParaRPr lang="de-DE"/>
          </a:p>
        </p:txBody>
      </p:sp>
    </p:spTree>
    <p:extLst>
      <p:ext uri="{BB962C8B-B14F-4D97-AF65-F5344CB8AC3E}">
        <p14:creationId xmlns:p14="http://schemas.microsoft.com/office/powerpoint/2010/main" val="99447992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22.5min</a:t>
            </a:r>
          </a:p>
          <a:p>
            <a:endParaRPr lang="en-US" dirty="0"/>
          </a:p>
          <a:p>
            <a:endParaRPr lang="en-US" dirty="0"/>
          </a:p>
          <a:p>
            <a:r>
              <a:rPr lang="en-US" dirty="0" err="1"/>
              <a:t>Bruteforce</a:t>
            </a:r>
            <a:r>
              <a:rPr lang="en-US" dirty="0"/>
              <a:t> preimage attack – generate preimage after you know the target hash</a:t>
            </a:r>
          </a:p>
          <a:p>
            <a:r>
              <a:rPr lang="en-US" dirty="0"/>
              <a:t>Use Grover’s algorithm to check guesses live -&gt; classical </a:t>
            </a:r>
            <a:r>
              <a:rPr lang="en-US" dirty="0" err="1"/>
              <a:t>bruteforce</a:t>
            </a:r>
            <a:r>
              <a:rPr lang="en-US" dirty="0"/>
              <a:t> resistance is 2^n -&gt; </a:t>
            </a:r>
            <a:r>
              <a:rPr lang="en-US" dirty="0" err="1"/>
              <a:t>grover’s</a:t>
            </a:r>
            <a:r>
              <a:rPr lang="en-US" dirty="0"/>
              <a:t> algorithm halves to 2^(n/2) operations</a:t>
            </a:r>
          </a:p>
          <a:p>
            <a:r>
              <a:rPr lang="en-US" dirty="0"/>
              <a:t>ChaCha20: stream cipher using 256 bit key</a:t>
            </a:r>
          </a:p>
          <a:p>
            <a:r>
              <a:rPr lang="en-US" dirty="0"/>
              <a:t>- Works well on resource constrained devices</a:t>
            </a:r>
          </a:p>
        </p:txBody>
      </p:sp>
      <p:sp>
        <p:nvSpPr>
          <p:cNvPr id="4" name="Slide Number Placeholder 3"/>
          <p:cNvSpPr>
            <a:spLocks noGrp="1"/>
          </p:cNvSpPr>
          <p:nvPr>
            <p:ph type="sldNum" sz="quarter" idx="5"/>
          </p:nvPr>
        </p:nvSpPr>
        <p:spPr/>
        <p:txBody>
          <a:bodyPr/>
          <a:lstStyle/>
          <a:p>
            <a:fld id="{9502F7FA-3984-4F9D-BF36-30DAB3280DBC}" type="slidenum">
              <a:rPr lang="de-DE" smtClean="0"/>
              <a:t>20</a:t>
            </a:fld>
            <a:endParaRPr lang="de-DE"/>
          </a:p>
        </p:txBody>
      </p:sp>
    </p:spTree>
    <p:extLst>
      <p:ext uri="{BB962C8B-B14F-4D97-AF65-F5344CB8AC3E}">
        <p14:creationId xmlns:p14="http://schemas.microsoft.com/office/powerpoint/2010/main" val="15448698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9502F7FA-3984-4F9D-BF36-30DAB3280DBC}" type="slidenum">
              <a:rPr lang="de-DE" smtClean="0"/>
              <a:t>2</a:t>
            </a:fld>
            <a:endParaRPr lang="de-DE"/>
          </a:p>
        </p:txBody>
      </p:sp>
    </p:spTree>
    <p:extLst>
      <p:ext uri="{BB962C8B-B14F-4D97-AF65-F5344CB8AC3E}">
        <p14:creationId xmlns:p14="http://schemas.microsoft.com/office/powerpoint/2010/main" val="168732707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25min</a:t>
            </a:r>
          </a:p>
        </p:txBody>
      </p:sp>
      <p:sp>
        <p:nvSpPr>
          <p:cNvPr id="4" name="Slide Number Placeholder 3"/>
          <p:cNvSpPr>
            <a:spLocks noGrp="1"/>
          </p:cNvSpPr>
          <p:nvPr>
            <p:ph type="sldNum" sz="quarter" idx="5"/>
          </p:nvPr>
        </p:nvSpPr>
        <p:spPr/>
        <p:txBody>
          <a:bodyPr/>
          <a:lstStyle/>
          <a:p>
            <a:fld id="{9502F7FA-3984-4F9D-BF36-30DAB3280DBC}" type="slidenum">
              <a:rPr lang="de-DE" smtClean="0"/>
              <a:t>21</a:t>
            </a:fld>
            <a:endParaRPr lang="de-DE"/>
          </a:p>
        </p:txBody>
      </p:sp>
    </p:spTree>
    <p:extLst>
      <p:ext uri="{BB962C8B-B14F-4D97-AF65-F5344CB8AC3E}">
        <p14:creationId xmlns:p14="http://schemas.microsoft.com/office/powerpoint/2010/main" val="260983322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25.5min</a:t>
            </a:r>
          </a:p>
          <a:p>
            <a:endParaRPr lang="en-US" dirty="0"/>
          </a:p>
          <a:p>
            <a:r>
              <a:rPr lang="en-US" dirty="0"/>
              <a:t>Round 3: CRYSTALS-Kyber, CRYSTALS-</a:t>
            </a:r>
            <a:r>
              <a:rPr lang="en-US" dirty="0" err="1"/>
              <a:t>Dilithium</a:t>
            </a:r>
            <a:r>
              <a:rPr lang="en-US" dirty="0"/>
              <a:t>, Falcon, SPHINCS+</a:t>
            </a:r>
          </a:p>
          <a:p>
            <a:endParaRPr lang="en-US" dirty="0"/>
          </a:p>
          <a:p>
            <a:r>
              <a:rPr lang="en-US" dirty="0"/>
              <a:t>Round 4 candidates: BIKE, Classic </a:t>
            </a:r>
            <a:r>
              <a:rPr lang="en-US" dirty="0" err="1"/>
              <a:t>McEliece</a:t>
            </a:r>
            <a:r>
              <a:rPr lang="en-US" dirty="0"/>
              <a:t>, HQC, SIKE</a:t>
            </a:r>
          </a:p>
          <a:p>
            <a:r>
              <a:rPr lang="en-US" dirty="0"/>
              <a:t>HQC was selected on March 11, 2025 for standardization</a:t>
            </a:r>
          </a:p>
          <a:p>
            <a:r>
              <a:rPr lang="en-US" dirty="0"/>
              <a:t>SIKE was removed in 2022 due to vulnerability</a:t>
            </a:r>
          </a:p>
          <a:p>
            <a:endParaRPr lang="en-US" dirty="0"/>
          </a:p>
        </p:txBody>
      </p:sp>
      <p:sp>
        <p:nvSpPr>
          <p:cNvPr id="4" name="Slide Number Placeholder 3"/>
          <p:cNvSpPr>
            <a:spLocks noGrp="1"/>
          </p:cNvSpPr>
          <p:nvPr>
            <p:ph type="sldNum" sz="quarter" idx="5"/>
          </p:nvPr>
        </p:nvSpPr>
        <p:spPr/>
        <p:txBody>
          <a:bodyPr/>
          <a:lstStyle/>
          <a:p>
            <a:fld id="{9502F7FA-3984-4F9D-BF36-30DAB3280DBC}" type="slidenum">
              <a:rPr lang="de-DE" smtClean="0"/>
              <a:t>22</a:t>
            </a:fld>
            <a:endParaRPr lang="de-DE"/>
          </a:p>
        </p:txBody>
      </p:sp>
    </p:spTree>
    <p:extLst>
      <p:ext uri="{BB962C8B-B14F-4D97-AF65-F5344CB8AC3E}">
        <p14:creationId xmlns:p14="http://schemas.microsoft.com/office/powerpoint/2010/main" val="245925863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27min</a:t>
            </a:r>
          </a:p>
        </p:txBody>
      </p:sp>
      <p:sp>
        <p:nvSpPr>
          <p:cNvPr id="4" name="Slide Number Placeholder 3"/>
          <p:cNvSpPr>
            <a:spLocks noGrp="1"/>
          </p:cNvSpPr>
          <p:nvPr>
            <p:ph type="sldNum" sz="quarter" idx="5"/>
          </p:nvPr>
        </p:nvSpPr>
        <p:spPr/>
        <p:txBody>
          <a:bodyPr/>
          <a:lstStyle/>
          <a:p>
            <a:fld id="{9502F7FA-3984-4F9D-BF36-30DAB3280DBC}" type="slidenum">
              <a:rPr lang="de-DE" smtClean="0"/>
              <a:t>23</a:t>
            </a:fld>
            <a:endParaRPr lang="de-DE"/>
          </a:p>
        </p:txBody>
      </p:sp>
    </p:spTree>
    <p:extLst>
      <p:ext uri="{BB962C8B-B14F-4D97-AF65-F5344CB8AC3E}">
        <p14:creationId xmlns:p14="http://schemas.microsoft.com/office/powerpoint/2010/main" val="118692077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28min</a:t>
            </a:r>
          </a:p>
        </p:txBody>
      </p:sp>
      <p:sp>
        <p:nvSpPr>
          <p:cNvPr id="4" name="Slide Number Placeholder 3"/>
          <p:cNvSpPr>
            <a:spLocks noGrp="1"/>
          </p:cNvSpPr>
          <p:nvPr>
            <p:ph type="sldNum" sz="quarter" idx="5"/>
          </p:nvPr>
        </p:nvSpPr>
        <p:spPr/>
        <p:txBody>
          <a:bodyPr/>
          <a:lstStyle/>
          <a:p>
            <a:fld id="{9502F7FA-3984-4F9D-BF36-30DAB3280DBC}" type="slidenum">
              <a:rPr lang="de-DE" smtClean="0"/>
              <a:t>24</a:t>
            </a:fld>
            <a:endParaRPr lang="de-DE"/>
          </a:p>
        </p:txBody>
      </p:sp>
    </p:spTree>
    <p:extLst>
      <p:ext uri="{BB962C8B-B14F-4D97-AF65-F5344CB8AC3E}">
        <p14:creationId xmlns:p14="http://schemas.microsoft.com/office/powerpoint/2010/main" val="353464094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29.5min</a:t>
            </a:r>
          </a:p>
        </p:txBody>
      </p:sp>
      <p:sp>
        <p:nvSpPr>
          <p:cNvPr id="4" name="Slide Number Placeholder 3"/>
          <p:cNvSpPr>
            <a:spLocks noGrp="1"/>
          </p:cNvSpPr>
          <p:nvPr>
            <p:ph type="sldNum" sz="quarter" idx="5"/>
          </p:nvPr>
        </p:nvSpPr>
        <p:spPr/>
        <p:txBody>
          <a:bodyPr/>
          <a:lstStyle/>
          <a:p>
            <a:fld id="{9502F7FA-3984-4F9D-BF36-30DAB3280DBC}" type="slidenum">
              <a:rPr lang="de-DE" smtClean="0"/>
              <a:t>25</a:t>
            </a:fld>
            <a:endParaRPr lang="de-DE"/>
          </a:p>
        </p:txBody>
      </p:sp>
    </p:spTree>
    <p:extLst>
      <p:ext uri="{BB962C8B-B14F-4D97-AF65-F5344CB8AC3E}">
        <p14:creationId xmlns:p14="http://schemas.microsoft.com/office/powerpoint/2010/main" val="108342456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30min</a:t>
            </a:r>
          </a:p>
        </p:txBody>
      </p:sp>
      <p:sp>
        <p:nvSpPr>
          <p:cNvPr id="4" name="Slide Number Placeholder 3"/>
          <p:cNvSpPr>
            <a:spLocks noGrp="1"/>
          </p:cNvSpPr>
          <p:nvPr>
            <p:ph type="sldNum" sz="quarter" idx="5"/>
          </p:nvPr>
        </p:nvSpPr>
        <p:spPr/>
        <p:txBody>
          <a:bodyPr/>
          <a:lstStyle/>
          <a:p>
            <a:fld id="{9502F7FA-3984-4F9D-BF36-30DAB3280DBC}" type="slidenum">
              <a:rPr lang="de-DE" smtClean="0"/>
              <a:t>26</a:t>
            </a:fld>
            <a:endParaRPr lang="de-DE"/>
          </a:p>
        </p:txBody>
      </p:sp>
    </p:spTree>
    <p:extLst>
      <p:ext uri="{BB962C8B-B14F-4D97-AF65-F5344CB8AC3E}">
        <p14:creationId xmlns:p14="http://schemas.microsoft.com/office/powerpoint/2010/main" val="143479228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1.5min</a:t>
            </a:r>
          </a:p>
        </p:txBody>
      </p:sp>
      <p:sp>
        <p:nvSpPr>
          <p:cNvPr id="4" name="Slide Number Placeholder 3"/>
          <p:cNvSpPr>
            <a:spLocks noGrp="1"/>
          </p:cNvSpPr>
          <p:nvPr>
            <p:ph type="sldNum" sz="quarter" idx="5"/>
          </p:nvPr>
        </p:nvSpPr>
        <p:spPr/>
        <p:txBody>
          <a:bodyPr/>
          <a:lstStyle/>
          <a:p>
            <a:fld id="{9502F7FA-3984-4F9D-BF36-30DAB3280DBC}" type="slidenum">
              <a:rPr lang="de-DE" smtClean="0"/>
              <a:t>3</a:t>
            </a:fld>
            <a:endParaRPr lang="de-DE"/>
          </a:p>
        </p:txBody>
      </p:sp>
    </p:spTree>
    <p:extLst>
      <p:ext uri="{BB962C8B-B14F-4D97-AF65-F5344CB8AC3E}">
        <p14:creationId xmlns:p14="http://schemas.microsoft.com/office/powerpoint/2010/main" val="168537754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2.5min</a:t>
            </a:r>
          </a:p>
        </p:txBody>
      </p:sp>
      <p:sp>
        <p:nvSpPr>
          <p:cNvPr id="4" name="Slide Number Placeholder 3"/>
          <p:cNvSpPr>
            <a:spLocks noGrp="1"/>
          </p:cNvSpPr>
          <p:nvPr>
            <p:ph type="sldNum" sz="quarter" idx="5"/>
          </p:nvPr>
        </p:nvSpPr>
        <p:spPr/>
        <p:txBody>
          <a:bodyPr/>
          <a:lstStyle/>
          <a:p>
            <a:fld id="{9502F7FA-3984-4F9D-BF36-30DAB3280DBC}" type="slidenum">
              <a:rPr lang="de-DE" smtClean="0"/>
              <a:t>4</a:t>
            </a:fld>
            <a:endParaRPr lang="de-DE"/>
          </a:p>
        </p:txBody>
      </p:sp>
    </p:spTree>
    <p:extLst>
      <p:ext uri="{BB962C8B-B14F-4D97-AF65-F5344CB8AC3E}">
        <p14:creationId xmlns:p14="http://schemas.microsoft.com/office/powerpoint/2010/main" val="178144507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72B372-D83F-256C-54E8-323B5717467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3FB031C-7DCF-DC40-B63B-76005D460DD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90D6E14-15F8-AA1E-AC15-752E60C45F1A}"/>
              </a:ext>
            </a:extLst>
          </p:cNvPr>
          <p:cNvSpPr>
            <a:spLocks noGrp="1"/>
          </p:cNvSpPr>
          <p:nvPr>
            <p:ph type="body" idx="1"/>
          </p:nvPr>
        </p:nvSpPr>
        <p:spPr/>
        <p:txBody>
          <a:bodyPr/>
          <a:lstStyle/>
          <a:p>
            <a:r>
              <a:rPr lang="en-US" dirty="0"/>
              <a:t>3min</a:t>
            </a:r>
          </a:p>
          <a:p>
            <a:endParaRPr lang="en-US" dirty="0"/>
          </a:p>
          <a:p>
            <a:r>
              <a:rPr lang="en-US" dirty="0"/>
              <a:t>https://documents.vicone.com/reports/shifting-gears-2025-automotive-cybersecurity-report.pdf</a:t>
            </a:r>
          </a:p>
          <a:p>
            <a:endParaRPr lang="en-US" dirty="0"/>
          </a:p>
          <a:p>
            <a:r>
              <a:rPr lang="en-US" dirty="0"/>
              <a:t>IT systems	28.7</a:t>
            </a:r>
          </a:p>
          <a:p>
            <a:r>
              <a:rPr lang="en-US" dirty="0"/>
              <a:t>IVI systems	16.7</a:t>
            </a:r>
          </a:p>
          <a:p>
            <a:r>
              <a:rPr lang="en-US" dirty="0"/>
              <a:t>ADAS	14.45</a:t>
            </a:r>
          </a:p>
          <a:p>
            <a:r>
              <a:rPr lang="en-US" dirty="0"/>
              <a:t>EV charging	12.55</a:t>
            </a:r>
          </a:p>
          <a:p>
            <a:r>
              <a:rPr lang="en-US" dirty="0"/>
              <a:t>BMS	7.8</a:t>
            </a:r>
          </a:p>
          <a:p>
            <a:r>
              <a:rPr lang="en-US" dirty="0"/>
              <a:t>ECU	7.35</a:t>
            </a:r>
          </a:p>
          <a:p>
            <a:r>
              <a:rPr lang="en-US" dirty="0"/>
              <a:t>Keyless entry	5.6</a:t>
            </a:r>
          </a:p>
          <a:p>
            <a:r>
              <a:rPr lang="en-US" dirty="0"/>
              <a:t>Diagnostics	2.75</a:t>
            </a:r>
          </a:p>
          <a:p>
            <a:r>
              <a:rPr lang="en-US" dirty="0"/>
              <a:t>Fleet management	1.4</a:t>
            </a:r>
          </a:p>
          <a:p>
            <a:r>
              <a:rPr lang="en-US" dirty="0"/>
              <a:t>Mobile/Vehicle apps	1.35</a:t>
            </a:r>
          </a:p>
          <a:p>
            <a:r>
              <a:rPr lang="en-US" dirty="0"/>
              <a:t>Other	1.35</a:t>
            </a:r>
          </a:p>
        </p:txBody>
      </p:sp>
      <p:sp>
        <p:nvSpPr>
          <p:cNvPr id="4" name="Slide Number Placeholder 3">
            <a:extLst>
              <a:ext uri="{FF2B5EF4-FFF2-40B4-BE49-F238E27FC236}">
                <a16:creationId xmlns:a16="http://schemas.microsoft.com/office/drawing/2014/main" id="{2C1504A9-6921-7FC2-A996-59701CA651AA}"/>
              </a:ext>
            </a:extLst>
          </p:cNvPr>
          <p:cNvSpPr>
            <a:spLocks noGrp="1"/>
          </p:cNvSpPr>
          <p:nvPr>
            <p:ph type="sldNum" sz="quarter" idx="5"/>
          </p:nvPr>
        </p:nvSpPr>
        <p:spPr/>
        <p:txBody>
          <a:bodyPr/>
          <a:lstStyle/>
          <a:p>
            <a:fld id="{9502F7FA-3984-4F9D-BF36-30DAB3280DBC}" type="slidenum">
              <a:rPr lang="de-DE" smtClean="0"/>
              <a:t>6</a:t>
            </a:fld>
            <a:endParaRPr lang="de-DE"/>
          </a:p>
        </p:txBody>
      </p:sp>
    </p:spTree>
    <p:extLst>
      <p:ext uri="{BB962C8B-B14F-4D97-AF65-F5344CB8AC3E}">
        <p14:creationId xmlns:p14="http://schemas.microsoft.com/office/powerpoint/2010/main" val="21870944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dirty="0"/>
              <a:t>https://documents.vicone.com/reports/shifting-gears-2025-automotive-cybersecurity-report.pdf</a:t>
            </a:r>
          </a:p>
          <a:p>
            <a:r>
              <a:rPr lang="en-US" dirty="0"/>
              <a:t>Total of 215 incidents</a:t>
            </a:r>
          </a:p>
          <a:p>
            <a:endParaRPr lang="en-US" dirty="0"/>
          </a:p>
        </p:txBody>
      </p:sp>
      <p:sp>
        <p:nvSpPr>
          <p:cNvPr id="4" name="Slide Number Placeholder 3"/>
          <p:cNvSpPr>
            <a:spLocks noGrp="1"/>
          </p:cNvSpPr>
          <p:nvPr>
            <p:ph type="sldNum" sz="quarter" idx="5"/>
          </p:nvPr>
        </p:nvSpPr>
        <p:spPr/>
        <p:txBody>
          <a:bodyPr/>
          <a:lstStyle/>
          <a:p>
            <a:fld id="{9502F7FA-3984-4F9D-BF36-30DAB3280DBC}" type="slidenum">
              <a:rPr lang="de-DE" smtClean="0"/>
              <a:t>7</a:t>
            </a:fld>
            <a:endParaRPr lang="de-DE"/>
          </a:p>
        </p:txBody>
      </p:sp>
    </p:spTree>
    <p:extLst>
      <p:ext uri="{BB962C8B-B14F-4D97-AF65-F5344CB8AC3E}">
        <p14:creationId xmlns:p14="http://schemas.microsoft.com/office/powerpoint/2010/main" val="15099081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4.5min</a:t>
            </a:r>
          </a:p>
        </p:txBody>
      </p:sp>
      <p:sp>
        <p:nvSpPr>
          <p:cNvPr id="4" name="Slide Number Placeholder 3"/>
          <p:cNvSpPr>
            <a:spLocks noGrp="1"/>
          </p:cNvSpPr>
          <p:nvPr>
            <p:ph type="sldNum" sz="quarter" idx="5"/>
          </p:nvPr>
        </p:nvSpPr>
        <p:spPr/>
        <p:txBody>
          <a:bodyPr/>
          <a:lstStyle/>
          <a:p>
            <a:fld id="{9502F7FA-3984-4F9D-BF36-30DAB3280DBC}" type="slidenum">
              <a:rPr lang="de-DE" smtClean="0"/>
              <a:t>8</a:t>
            </a:fld>
            <a:endParaRPr lang="de-DE"/>
          </a:p>
        </p:txBody>
      </p:sp>
    </p:spTree>
    <p:extLst>
      <p:ext uri="{BB962C8B-B14F-4D97-AF65-F5344CB8AC3E}">
        <p14:creationId xmlns:p14="http://schemas.microsoft.com/office/powerpoint/2010/main" val="290211450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08DA97-7B72-B83A-C61E-E10B4E87791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2DA3A29-ACA5-03D3-7698-623B40FC45C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C9DACDF-5F96-81DA-B45E-B95A3E733564}"/>
              </a:ext>
            </a:extLst>
          </p:cNvPr>
          <p:cNvSpPr>
            <a:spLocks noGrp="1"/>
          </p:cNvSpPr>
          <p:nvPr>
            <p:ph type="body" idx="1"/>
          </p:nvPr>
        </p:nvSpPr>
        <p:spPr/>
        <p:txBody>
          <a:bodyPr/>
          <a:lstStyle/>
          <a:p>
            <a:r>
              <a:rPr lang="en-US" dirty="0"/>
              <a:t>6min</a:t>
            </a:r>
          </a:p>
        </p:txBody>
      </p:sp>
      <p:sp>
        <p:nvSpPr>
          <p:cNvPr id="4" name="Slide Number Placeholder 3">
            <a:extLst>
              <a:ext uri="{FF2B5EF4-FFF2-40B4-BE49-F238E27FC236}">
                <a16:creationId xmlns:a16="http://schemas.microsoft.com/office/drawing/2014/main" id="{11E47652-E6E4-3214-DA60-045A71D2A14A}"/>
              </a:ext>
            </a:extLst>
          </p:cNvPr>
          <p:cNvSpPr>
            <a:spLocks noGrp="1"/>
          </p:cNvSpPr>
          <p:nvPr>
            <p:ph type="sldNum" sz="quarter" idx="5"/>
          </p:nvPr>
        </p:nvSpPr>
        <p:spPr/>
        <p:txBody>
          <a:bodyPr/>
          <a:lstStyle/>
          <a:p>
            <a:fld id="{9502F7FA-3984-4F9D-BF36-30DAB3280DBC}" type="slidenum">
              <a:rPr lang="de-DE" smtClean="0"/>
              <a:t>9</a:t>
            </a:fld>
            <a:endParaRPr lang="de-DE"/>
          </a:p>
        </p:txBody>
      </p:sp>
    </p:spTree>
    <p:extLst>
      <p:ext uri="{BB962C8B-B14F-4D97-AF65-F5344CB8AC3E}">
        <p14:creationId xmlns:p14="http://schemas.microsoft.com/office/powerpoint/2010/main" val="333553207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91FB7A-959E-19B4-4372-C19E528450A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6182239-BCED-9DC2-E967-20FD2A5A27B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2FAAC9A-2989-809F-D73B-4D6F1349D83E}"/>
              </a:ext>
            </a:extLst>
          </p:cNvPr>
          <p:cNvSpPr>
            <a:spLocks noGrp="1"/>
          </p:cNvSpPr>
          <p:nvPr>
            <p:ph type="body" idx="1"/>
          </p:nvPr>
        </p:nvSpPr>
        <p:spPr/>
        <p:txBody>
          <a:bodyPr/>
          <a:lstStyle/>
          <a:p>
            <a:r>
              <a:rPr lang="en-US" dirty="0"/>
              <a:t>8.5min</a:t>
            </a:r>
          </a:p>
        </p:txBody>
      </p:sp>
      <p:sp>
        <p:nvSpPr>
          <p:cNvPr id="4" name="Slide Number Placeholder 3">
            <a:extLst>
              <a:ext uri="{FF2B5EF4-FFF2-40B4-BE49-F238E27FC236}">
                <a16:creationId xmlns:a16="http://schemas.microsoft.com/office/drawing/2014/main" id="{85B56F44-5D0A-5C4B-7DCD-F4450CEEDF7F}"/>
              </a:ext>
            </a:extLst>
          </p:cNvPr>
          <p:cNvSpPr>
            <a:spLocks noGrp="1"/>
          </p:cNvSpPr>
          <p:nvPr>
            <p:ph type="sldNum" sz="quarter" idx="5"/>
          </p:nvPr>
        </p:nvSpPr>
        <p:spPr/>
        <p:txBody>
          <a:bodyPr/>
          <a:lstStyle/>
          <a:p>
            <a:fld id="{9502F7FA-3984-4F9D-BF36-30DAB3280DBC}" type="slidenum">
              <a:rPr lang="de-DE" smtClean="0"/>
              <a:t>10</a:t>
            </a:fld>
            <a:endParaRPr lang="de-DE"/>
          </a:p>
        </p:txBody>
      </p:sp>
    </p:spTree>
    <p:extLst>
      <p:ext uri="{BB962C8B-B14F-4D97-AF65-F5344CB8AC3E}">
        <p14:creationId xmlns:p14="http://schemas.microsoft.com/office/powerpoint/2010/main" val="323606047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9.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12.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15.sv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1.xml"/><Relationship Id="rId4" Type="http://schemas.openxmlformats.org/officeDocument/2006/relationships/image" Target="../media/image18.sv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1">
    <p:bg>
      <p:bgPr>
        <a:solidFill>
          <a:schemeClr val="tx1"/>
        </a:solidFill>
        <a:effectLst/>
      </p:bgPr>
    </p:bg>
    <p:spTree>
      <p:nvGrpSpPr>
        <p:cNvPr id="1" name=""/>
        <p:cNvGrpSpPr/>
        <p:nvPr/>
      </p:nvGrpSpPr>
      <p:grpSpPr>
        <a:xfrm>
          <a:off x="0" y="0"/>
          <a:ext cx="0" cy="0"/>
          <a:chOff x="0" y="0"/>
          <a:chExt cx="0" cy="0"/>
        </a:xfrm>
      </p:grpSpPr>
      <p:pic>
        <p:nvPicPr>
          <p:cNvPr id="19" name="Bildplatzhalter 48">
            <a:extLst>
              <a:ext uri="{FF2B5EF4-FFF2-40B4-BE49-F238E27FC236}">
                <a16:creationId xmlns:a16="http://schemas.microsoft.com/office/drawing/2014/main" id="{6B601E17-8A59-4A30-A3C9-0755A73AA802}"/>
              </a:ext>
            </a:extLst>
          </p:cNvPr>
          <p:cNvPicPr>
            <a:picLocks noChangeAspect="1"/>
          </p:cNvPicPr>
          <p:nvPr userDrawn="1"/>
        </p:nvPicPr>
        <p:blipFill>
          <a:blip r:embed="rId2">
            <a:extLst>
              <a:ext uri="{28A0092B-C50C-407E-A947-70E740481C1C}">
                <a14:useLocalDpi xmlns:a14="http://schemas.microsoft.com/office/drawing/2010/main" val="0"/>
              </a:ext>
            </a:extLst>
          </a:blip>
          <a:srcRect l="118" r="118"/>
          <a:stretch>
            <a:fillRect/>
          </a:stretch>
        </p:blipFill>
        <p:spPr>
          <a:xfrm>
            <a:off x="-396" y="-273"/>
            <a:ext cx="11520884" cy="6480448"/>
          </a:xfrm>
          <a:prstGeom prst="rect">
            <a:avLst/>
          </a:prstGeom>
        </p:spPr>
      </p:pic>
      <p:pic>
        <p:nvPicPr>
          <p:cNvPr id="20" name="IAV_Logo">
            <a:extLst>
              <a:ext uri="{FF2B5EF4-FFF2-40B4-BE49-F238E27FC236}">
                <a16:creationId xmlns:a16="http://schemas.microsoft.com/office/drawing/2014/main" id="{50DAB219-8AD2-42BC-9BBF-87F7082EE351}"/>
              </a:ext>
            </a:extLst>
          </p:cNvPr>
          <p:cNvPicPr>
            <a:picLocks noChangeAspect="1"/>
          </p:cNvPicPr>
          <p:nvPr userDrawn="1"/>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bwMode="gray">
          <a:xfrm>
            <a:off x="9048337" y="4824263"/>
            <a:ext cx="2148511" cy="1188000"/>
          </a:xfrm>
          <a:prstGeom prst="rect">
            <a:avLst/>
          </a:prstGeom>
        </p:spPr>
      </p:pic>
      <p:sp>
        <p:nvSpPr>
          <p:cNvPr id="2" name="Titel 1">
            <a:extLst>
              <a:ext uri="{FF2B5EF4-FFF2-40B4-BE49-F238E27FC236}">
                <a16:creationId xmlns:a16="http://schemas.microsoft.com/office/drawing/2014/main" id="{56076F01-17EC-4724-B8CD-18FD44ECA277}"/>
              </a:ext>
            </a:extLst>
          </p:cNvPr>
          <p:cNvSpPr>
            <a:spLocks noGrp="1"/>
          </p:cNvSpPr>
          <p:nvPr>
            <p:ph type="title" hasCustomPrompt="1"/>
          </p:nvPr>
        </p:nvSpPr>
        <p:spPr bwMode="gray">
          <a:xfrm>
            <a:off x="539750" y="3376402"/>
            <a:ext cx="8280000" cy="403745"/>
          </a:xfrm>
        </p:spPr>
        <p:txBody>
          <a:bodyPr anchor="b">
            <a:spAutoFit/>
          </a:bodyPr>
          <a:lstStyle>
            <a:lvl1pPr>
              <a:lnSpc>
                <a:spcPct val="100000"/>
              </a:lnSpc>
              <a:defRPr sz="2600">
                <a:solidFill>
                  <a:schemeClr val="accent1"/>
                </a:solidFill>
              </a:defRPr>
            </a:lvl1pPr>
          </a:lstStyle>
          <a:p>
            <a:r>
              <a:rPr lang="en-US" dirty="0"/>
              <a:t>Insert Presentation Title</a:t>
            </a:r>
          </a:p>
        </p:txBody>
      </p:sp>
      <p:sp>
        <p:nvSpPr>
          <p:cNvPr id="21" name="Fußzeilenplatzhalter 3">
            <a:extLst>
              <a:ext uri="{FF2B5EF4-FFF2-40B4-BE49-F238E27FC236}">
                <a16:creationId xmlns:a16="http://schemas.microsoft.com/office/drawing/2014/main" id="{67ECDBC6-A0EC-4C5B-9847-67069DDD4A29}"/>
              </a:ext>
            </a:extLst>
          </p:cNvPr>
          <p:cNvSpPr>
            <a:spLocks noGrp="1"/>
          </p:cNvSpPr>
          <p:nvPr>
            <p:ph type="ftr" sz="quarter" idx="3"/>
          </p:nvPr>
        </p:nvSpPr>
        <p:spPr bwMode="gray">
          <a:xfrm>
            <a:off x="647676" y="6516432"/>
            <a:ext cx="288000" cy="36000"/>
          </a:xfrm>
          <a:prstGeom prst="rect">
            <a:avLst/>
          </a:prstGeom>
        </p:spPr>
        <p:txBody>
          <a:bodyPr vert="horz" lIns="0" tIns="0" rIns="0" bIns="0" rtlCol="0" anchor="ctr"/>
          <a:lstStyle>
            <a:lvl1pPr algn="l">
              <a:defRPr sz="100">
                <a:solidFill>
                  <a:srgbClr val="E6E6E6"/>
                </a:solidFill>
              </a:defRPr>
            </a:lvl1pPr>
          </a:lstStyle>
          <a:p>
            <a:r>
              <a:rPr lang="en-US"/>
              <a:t>IAV  MM/JJJJ  Abteilungskürzel  Namenskürzel  Status: Entwurf, vertraulich</a:t>
            </a:r>
            <a:endParaRPr lang="en-US" dirty="0"/>
          </a:p>
        </p:txBody>
      </p:sp>
      <p:sp>
        <p:nvSpPr>
          <p:cNvPr id="22" name="Foliennummernplatzhalter 4">
            <a:extLst>
              <a:ext uri="{FF2B5EF4-FFF2-40B4-BE49-F238E27FC236}">
                <a16:creationId xmlns:a16="http://schemas.microsoft.com/office/drawing/2014/main" id="{E75DEFE7-5879-4104-847F-0952E148F47D}"/>
              </a:ext>
            </a:extLst>
          </p:cNvPr>
          <p:cNvSpPr>
            <a:spLocks noGrp="1"/>
          </p:cNvSpPr>
          <p:nvPr>
            <p:ph type="sldNum" sz="quarter" idx="4"/>
          </p:nvPr>
        </p:nvSpPr>
        <p:spPr bwMode="gray">
          <a:xfrm>
            <a:off x="539664" y="6516455"/>
            <a:ext cx="72008" cy="36000"/>
          </a:xfrm>
          <a:prstGeom prst="rect">
            <a:avLst/>
          </a:prstGeom>
        </p:spPr>
        <p:txBody>
          <a:bodyPr vert="horz" lIns="0" tIns="0" rIns="0" bIns="0" rtlCol="0" anchor="ctr"/>
          <a:lstStyle>
            <a:lvl1pPr algn="l">
              <a:defRPr sz="100">
                <a:solidFill>
                  <a:srgbClr val="E6E6E6"/>
                </a:solidFill>
              </a:defRPr>
            </a:lvl1pPr>
          </a:lstStyle>
          <a:p>
            <a:fld id="{C651C7C4-31E4-E340-822E-DEA0EA75A835}" type="slidenum">
              <a:rPr lang="en-US" smtClean="0"/>
              <a:pPr/>
              <a:t>‹#›</a:t>
            </a:fld>
            <a:endParaRPr lang="en-US" dirty="0"/>
          </a:p>
        </p:txBody>
      </p:sp>
      <p:sp>
        <p:nvSpPr>
          <p:cNvPr id="8" name="Textplatzhalter 8">
            <a:extLst>
              <a:ext uri="{FF2B5EF4-FFF2-40B4-BE49-F238E27FC236}">
                <a16:creationId xmlns:a16="http://schemas.microsoft.com/office/drawing/2014/main" id="{FD5E4C93-51C5-4597-8CA9-B2334CFA6B47}"/>
              </a:ext>
            </a:extLst>
          </p:cNvPr>
          <p:cNvSpPr>
            <a:spLocks noGrp="1" noChangeAspect="1"/>
          </p:cNvSpPr>
          <p:nvPr>
            <p:ph type="body" sz="quarter" idx="13" hasCustomPrompt="1"/>
          </p:nvPr>
        </p:nvSpPr>
        <p:spPr bwMode="gray">
          <a:xfrm>
            <a:off x="539750" y="3960813"/>
            <a:ext cx="8280400" cy="493277"/>
          </a:xfrm>
        </p:spPr>
        <p:txBody>
          <a:bodyPr>
            <a:spAutoFit/>
          </a:bodyPr>
          <a:lstStyle>
            <a:lvl1pPr marL="0" indent="0">
              <a:lnSpc>
                <a:spcPct val="120000"/>
              </a:lnSpc>
              <a:spcBef>
                <a:spcPts val="0"/>
              </a:spcBef>
              <a:spcAft>
                <a:spcPts val="0"/>
              </a:spcAft>
              <a:buNone/>
              <a:defRPr sz="1400">
                <a:solidFill>
                  <a:schemeClr val="accent1"/>
                </a:solidFill>
              </a:defRPr>
            </a:lvl1pPr>
            <a:lvl2pPr marL="180000" indent="0">
              <a:buNone/>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r>
              <a:rPr lang="en-US"/>
              <a:t>Subtitle</a:t>
            </a:r>
          </a:p>
          <a:p>
            <a:r>
              <a:rPr lang="en-US"/>
              <a:t>Name </a:t>
            </a:r>
            <a:r>
              <a:rPr lang="en-US" dirty="0"/>
              <a:t>Surname, Month YYYY</a:t>
            </a:r>
          </a:p>
        </p:txBody>
      </p:sp>
    </p:spTree>
    <p:extLst>
      <p:ext uri="{BB962C8B-B14F-4D97-AF65-F5344CB8AC3E}">
        <p14:creationId xmlns:p14="http://schemas.microsoft.com/office/powerpoint/2010/main" val="2871015838"/>
      </p:ext>
    </p:extLst>
  </p:cSld>
  <p:clrMapOvr>
    <a:masterClrMapping/>
  </p:clrMapOvr>
  <p:extLst>
    <p:ext uri="{DCECCB84-F9BA-43D5-87BE-67443E8EF086}">
      <p15:sldGuideLst xmlns:p15="http://schemas.microsoft.com/office/powerpoint/2012/main">
        <p15:guide id="2" orient="horz" pos="2495" userDrawn="1">
          <p15:clr>
            <a:srgbClr val="FBAE40"/>
          </p15:clr>
        </p15:guide>
        <p15:guide id="4" orient="horz" pos="2381" userDrawn="1">
          <p15:clr>
            <a:srgbClr val="FBAE40"/>
          </p15:clr>
        </p15:guide>
        <p15:guide id="5" pos="5556"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hree Column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A0A33A1-DD45-4768-8D42-1CCED7E8F50D}"/>
              </a:ext>
            </a:extLst>
          </p:cNvPr>
          <p:cNvSpPr>
            <a:spLocks noGrp="1"/>
          </p:cNvSpPr>
          <p:nvPr>
            <p:ph type="title" hasCustomPrompt="1"/>
          </p:nvPr>
        </p:nvSpPr>
        <p:spPr/>
        <p:txBody>
          <a:bodyPr/>
          <a:lstStyle/>
          <a:p>
            <a:r>
              <a:rPr lang="en-US"/>
              <a:t>Insert Heading (two lines max)</a:t>
            </a:r>
            <a:endParaRPr lang="en-US" dirty="0"/>
          </a:p>
        </p:txBody>
      </p:sp>
      <p:sp>
        <p:nvSpPr>
          <p:cNvPr id="3" name="Fußzeilenplatzhalter 2">
            <a:extLst>
              <a:ext uri="{FF2B5EF4-FFF2-40B4-BE49-F238E27FC236}">
                <a16:creationId xmlns:a16="http://schemas.microsoft.com/office/drawing/2014/main" id="{CD6E6FD7-1A1D-4077-9538-0A88A20D5BC6}"/>
              </a:ext>
            </a:extLst>
          </p:cNvPr>
          <p:cNvSpPr>
            <a:spLocks noGrp="1"/>
          </p:cNvSpPr>
          <p:nvPr>
            <p:ph type="ftr" sz="quarter" idx="10"/>
          </p:nvPr>
        </p:nvSpPr>
        <p:spPr bwMode="gray"/>
        <p:txBody>
          <a:bodyPr/>
          <a:lstStyle>
            <a:lvl1pPr algn="l">
              <a:defRPr sz="700"/>
            </a:lvl1pPr>
          </a:lstStyle>
          <a:p>
            <a:r>
              <a:rPr lang="en-US"/>
              <a:t>IAV  MM/YYYY  Department Code  Initials  Status: draft, confidential</a:t>
            </a:r>
            <a:endParaRPr lang="en-US" dirty="0"/>
          </a:p>
        </p:txBody>
      </p:sp>
      <p:sp>
        <p:nvSpPr>
          <p:cNvPr id="4" name="Foliennummernplatzhalter 3">
            <a:extLst>
              <a:ext uri="{FF2B5EF4-FFF2-40B4-BE49-F238E27FC236}">
                <a16:creationId xmlns:a16="http://schemas.microsoft.com/office/drawing/2014/main" id="{DC2104F3-786C-460F-AEEF-DFFB798911E3}"/>
              </a:ext>
            </a:extLst>
          </p:cNvPr>
          <p:cNvSpPr>
            <a:spLocks noGrp="1"/>
          </p:cNvSpPr>
          <p:nvPr>
            <p:ph type="sldNum" sz="quarter" idx="11"/>
          </p:nvPr>
        </p:nvSpPr>
        <p:spPr bwMode="gray"/>
        <p:txBody>
          <a:bodyPr/>
          <a:lstStyle>
            <a:lvl1pPr algn="l">
              <a:defRPr sz="700"/>
            </a:lvl1pPr>
          </a:lstStyle>
          <a:p>
            <a:fld id="{C651C7C4-31E4-E340-822E-DEA0EA75A835}" type="slidenum">
              <a:rPr lang="en-US" smtClean="0"/>
              <a:pPr/>
              <a:t>‹#›</a:t>
            </a:fld>
            <a:endParaRPr lang="en-US" dirty="0"/>
          </a:p>
        </p:txBody>
      </p:sp>
      <p:sp>
        <p:nvSpPr>
          <p:cNvPr id="10" name="Textplatzhalter 9">
            <a:extLst>
              <a:ext uri="{FF2B5EF4-FFF2-40B4-BE49-F238E27FC236}">
                <a16:creationId xmlns:a16="http://schemas.microsoft.com/office/drawing/2014/main" id="{F9318C5E-89FA-4ECC-A117-7F7FDE7986BC}"/>
              </a:ext>
            </a:extLst>
          </p:cNvPr>
          <p:cNvSpPr>
            <a:spLocks noGrp="1"/>
          </p:cNvSpPr>
          <p:nvPr>
            <p:ph type="body" sz="quarter" idx="12" hasCustomPrompt="1"/>
          </p:nvPr>
        </p:nvSpPr>
        <p:spPr>
          <a:xfrm>
            <a:off x="539665" y="1295399"/>
            <a:ext cx="3240173" cy="1860509"/>
          </a:xfrm>
        </p:spPr>
        <p:txBody>
          <a:bodyPr>
            <a:spAutoFit/>
          </a:bodyPr>
          <a:lstStyle>
            <a:lvl1pPr>
              <a:lnSpc>
                <a:spcPct val="120000"/>
              </a:lnSpc>
              <a:buClrTx/>
              <a:defRPr/>
            </a:lvl1pPr>
            <a:lvl2pPr>
              <a:lnSpc>
                <a:spcPct val="120000"/>
              </a:lnSpc>
              <a:buClrTx/>
              <a:defRPr/>
            </a:lvl2pPr>
            <a:lvl3pPr>
              <a:lnSpc>
                <a:spcPct val="120000"/>
              </a:lnSpc>
              <a:buClrTx/>
              <a:defRPr/>
            </a:lvl3pPr>
            <a:lvl4pPr>
              <a:lnSpc>
                <a:spcPct val="120000"/>
              </a:lnSpc>
              <a:buClrTx/>
              <a:defRPr/>
            </a:lvl4pPr>
            <a:lvl5pPr>
              <a:buClrTx/>
              <a:defRPr/>
            </a:lvl5pPr>
          </a:lstStyle>
          <a:p>
            <a:pPr lvl="0"/>
            <a:r>
              <a:rPr lang="en-US"/>
              <a:t>First level</a:t>
            </a:r>
          </a:p>
          <a:p>
            <a:pPr lvl="1"/>
            <a:r>
              <a:rPr lang="en-US"/>
              <a:t>Second </a:t>
            </a:r>
            <a:r>
              <a:rPr lang="en-US" dirty="0"/>
              <a:t>level</a:t>
            </a:r>
          </a:p>
          <a:p>
            <a:pPr lvl="2"/>
            <a:r>
              <a:rPr lang="en-US" dirty="0"/>
              <a:t>Third level</a:t>
            </a:r>
          </a:p>
          <a:p>
            <a:pPr lvl="3"/>
            <a:r>
              <a:rPr lang="en-US" dirty="0"/>
              <a:t>Fourth level</a:t>
            </a:r>
          </a:p>
          <a:p>
            <a:pPr lvl="4"/>
            <a:r>
              <a:rPr lang="en-US" dirty="0"/>
              <a:t>Fifth level</a:t>
            </a:r>
          </a:p>
        </p:txBody>
      </p:sp>
      <p:sp>
        <p:nvSpPr>
          <p:cNvPr id="11" name="Textplatzhalter 9">
            <a:extLst>
              <a:ext uri="{FF2B5EF4-FFF2-40B4-BE49-F238E27FC236}">
                <a16:creationId xmlns:a16="http://schemas.microsoft.com/office/drawing/2014/main" id="{69585600-7B4A-4FD9-B2AF-A86376EA3DBF}"/>
              </a:ext>
            </a:extLst>
          </p:cNvPr>
          <p:cNvSpPr>
            <a:spLocks noGrp="1"/>
          </p:cNvSpPr>
          <p:nvPr>
            <p:ph type="body" sz="quarter" idx="13" hasCustomPrompt="1"/>
          </p:nvPr>
        </p:nvSpPr>
        <p:spPr>
          <a:xfrm>
            <a:off x="4140064" y="1295399"/>
            <a:ext cx="3240087" cy="1860509"/>
          </a:xfrm>
        </p:spPr>
        <p:txBody>
          <a:bodyPr>
            <a:spAutoFit/>
          </a:bodyPr>
          <a:lstStyle>
            <a:lvl1pPr>
              <a:lnSpc>
                <a:spcPct val="120000"/>
              </a:lnSpc>
              <a:buClrTx/>
              <a:defRPr/>
            </a:lvl1pPr>
            <a:lvl2pPr>
              <a:lnSpc>
                <a:spcPct val="120000"/>
              </a:lnSpc>
              <a:buClrTx/>
              <a:defRPr/>
            </a:lvl2pPr>
            <a:lvl3pPr>
              <a:lnSpc>
                <a:spcPct val="120000"/>
              </a:lnSpc>
              <a:buClrTx/>
              <a:defRPr/>
            </a:lvl3pPr>
            <a:lvl4pPr>
              <a:lnSpc>
                <a:spcPct val="120000"/>
              </a:lnSpc>
              <a:buClrTx/>
              <a:defRPr/>
            </a:lvl4pPr>
            <a:lvl5pPr>
              <a:buClrTx/>
              <a:defRPr/>
            </a:lvl5pPr>
          </a:lstStyle>
          <a:p>
            <a:pPr lvl="0"/>
            <a:r>
              <a:rPr lang="en-US"/>
              <a:t>First level</a:t>
            </a:r>
          </a:p>
          <a:p>
            <a:pPr lvl="1"/>
            <a:r>
              <a:rPr lang="en-US"/>
              <a:t>Second </a:t>
            </a:r>
            <a:r>
              <a:rPr lang="en-US" dirty="0"/>
              <a:t>level</a:t>
            </a:r>
          </a:p>
          <a:p>
            <a:pPr lvl="2"/>
            <a:r>
              <a:rPr lang="en-US" dirty="0"/>
              <a:t>Third level</a:t>
            </a:r>
          </a:p>
          <a:p>
            <a:pPr lvl="3"/>
            <a:r>
              <a:rPr lang="en-US" dirty="0"/>
              <a:t>Fourth level</a:t>
            </a:r>
          </a:p>
          <a:p>
            <a:pPr lvl="4"/>
            <a:r>
              <a:rPr lang="en-US" dirty="0"/>
              <a:t>Fifth level</a:t>
            </a:r>
          </a:p>
        </p:txBody>
      </p:sp>
      <p:sp>
        <p:nvSpPr>
          <p:cNvPr id="12" name="Textplatzhalter 9">
            <a:extLst>
              <a:ext uri="{FF2B5EF4-FFF2-40B4-BE49-F238E27FC236}">
                <a16:creationId xmlns:a16="http://schemas.microsoft.com/office/drawing/2014/main" id="{BEB46638-66D7-4118-9E58-EE2C8D6B85BB}"/>
              </a:ext>
            </a:extLst>
          </p:cNvPr>
          <p:cNvSpPr>
            <a:spLocks noGrp="1"/>
          </p:cNvSpPr>
          <p:nvPr>
            <p:ph type="body" sz="quarter" idx="14" hasCustomPrompt="1"/>
          </p:nvPr>
        </p:nvSpPr>
        <p:spPr>
          <a:xfrm>
            <a:off x="7740377" y="1295399"/>
            <a:ext cx="3240086" cy="1860509"/>
          </a:xfrm>
        </p:spPr>
        <p:txBody>
          <a:bodyPr>
            <a:spAutoFit/>
          </a:bodyPr>
          <a:lstStyle>
            <a:lvl1pPr>
              <a:lnSpc>
                <a:spcPct val="120000"/>
              </a:lnSpc>
              <a:buClrTx/>
              <a:defRPr/>
            </a:lvl1pPr>
            <a:lvl2pPr>
              <a:lnSpc>
                <a:spcPct val="120000"/>
              </a:lnSpc>
              <a:buClrTx/>
              <a:defRPr/>
            </a:lvl2pPr>
            <a:lvl3pPr>
              <a:lnSpc>
                <a:spcPct val="120000"/>
              </a:lnSpc>
              <a:buClrTx/>
              <a:defRPr/>
            </a:lvl3pPr>
            <a:lvl4pPr>
              <a:lnSpc>
                <a:spcPct val="120000"/>
              </a:lnSpc>
              <a:buClrTx/>
              <a:defRPr/>
            </a:lvl4pPr>
            <a:lvl5pPr>
              <a:buClrTx/>
              <a:defRPr/>
            </a:lvl5pPr>
          </a:lstStyle>
          <a:p>
            <a:pPr lvl="0"/>
            <a:r>
              <a:rPr lang="en-US"/>
              <a:t>First level</a:t>
            </a:r>
          </a:p>
          <a:p>
            <a:pPr lvl="1"/>
            <a:r>
              <a:rPr lang="en-US"/>
              <a:t>Second </a:t>
            </a:r>
            <a:r>
              <a:rPr lang="en-US" dirty="0"/>
              <a:t>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96540728"/>
      </p:ext>
    </p:extLst>
  </p:cSld>
  <p:clrMapOvr>
    <a:masterClrMapping/>
  </p:clrMapOvr>
  <p:extLst>
    <p:ext uri="{DCECCB84-F9BA-43D5-87BE-67443E8EF086}">
      <p15:sldGuideLst xmlns:p15="http://schemas.microsoft.com/office/powerpoint/2012/main">
        <p15:guide id="1" pos="2608" userDrawn="1">
          <p15:clr>
            <a:srgbClr val="FBAE40"/>
          </p15:clr>
        </p15:guide>
        <p15:guide id="2" pos="2381" userDrawn="1">
          <p15:clr>
            <a:srgbClr val="FBAE40"/>
          </p15:clr>
        </p15:guide>
        <p15:guide id="3" pos="4649" userDrawn="1">
          <p15:clr>
            <a:srgbClr val="FBAE40"/>
          </p15:clr>
        </p15:guide>
        <p15:guide id="4" pos="4876"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ighlight">
    <p:bg>
      <p:bgPr>
        <a:solidFill>
          <a:schemeClr val="tx1"/>
        </a:solidFill>
        <a:effectLst/>
      </p:bgPr>
    </p:bg>
    <p:spTree>
      <p:nvGrpSpPr>
        <p:cNvPr id="1" name=""/>
        <p:cNvGrpSpPr/>
        <p:nvPr/>
      </p:nvGrpSpPr>
      <p:grpSpPr>
        <a:xfrm>
          <a:off x="0" y="0"/>
          <a:ext cx="0" cy="0"/>
          <a:chOff x="0" y="0"/>
          <a:chExt cx="0" cy="0"/>
        </a:xfrm>
      </p:grpSpPr>
      <p:sp>
        <p:nvSpPr>
          <p:cNvPr id="5" name="Bildplatzhalter 8">
            <a:extLst>
              <a:ext uri="{FF2B5EF4-FFF2-40B4-BE49-F238E27FC236}">
                <a16:creationId xmlns:a16="http://schemas.microsoft.com/office/drawing/2014/main" id="{A34D6C70-9B9F-440C-9118-8C886093B483}"/>
              </a:ext>
            </a:extLst>
          </p:cNvPr>
          <p:cNvSpPr>
            <a:spLocks noGrp="1"/>
          </p:cNvSpPr>
          <p:nvPr>
            <p:ph type="pic" sz="quarter" idx="12" hasCustomPrompt="1"/>
          </p:nvPr>
        </p:nvSpPr>
        <p:spPr>
          <a:xfrm>
            <a:off x="0" y="0"/>
            <a:ext cx="11520488" cy="6480175"/>
          </a:xfrm>
        </p:spPr>
        <p:txBody>
          <a:bodyPr anchor="ctr"/>
          <a:lstStyle>
            <a:lvl1pPr marL="0" indent="0" algn="ctr">
              <a:buNone/>
              <a:defRPr>
                <a:solidFill>
                  <a:schemeClr val="accent6"/>
                </a:solidFill>
              </a:defRPr>
            </a:lvl1pPr>
          </a:lstStyle>
          <a:p>
            <a:r>
              <a:rPr lang="en-US"/>
              <a:t>Insert background picture</a:t>
            </a:r>
            <a:endParaRPr lang="en-US" dirty="0"/>
          </a:p>
        </p:txBody>
      </p:sp>
      <p:sp>
        <p:nvSpPr>
          <p:cNvPr id="2" name="Titel 1">
            <a:extLst>
              <a:ext uri="{FF2B5EF4-FFF2-40B4-BE49-F238E27FC236}">
                <a16:creationId xmlns:a16="http://schemas.microsoft.com/office/drawing/2014/main" id="{80AEDBF7-EAD7-4A97-BAF0-B9AC481F7B90}"/>
              </a:ext>
            </a:extLst>
          </p:cNvPr>
          <p:cNvSpPr>
            <a:spLocks noGrp="1"/>
          </p:cNvSpPr>
          <p:nvPr>
            <p:ph type="title" hasCustomPrompt="1"/>
          </p:nvPr>
        </p:nvSpPr>
        <p:spPr bwMode="gray">
          <a:xfrm>
            <a:off x="539750" y="4078843"/>
            <a:ext cx="10440988" cy="890032"/>
          </a:xfrm>
        </p:spPr>
        <p:txBody>
          <a:bodyPr anchor="b">
            <a:spAutoFit/>
          </a:bodyPr>
          <a:lstStyle>
            <a:lvl1pPr>
              <a:lnSpc>
                <a:spcPct val="90000"/>
              </a:lnSpc>
              <a:defRPr sz="6400" b="0">
                <a:solidFill>
                  <a:schemeClr val="bg1"/>
                </a:solidFill>
              </a:defRPr>
            </a:lvl1pPr>
          </a:lstStyle>
          <a:p>
            <a:r>
              <a:rPr lang="en-US"/>
              <a:t>A Short Statement</a:t>
            </a:r>
            <a:endParaRPr lang="en-US" dirty="0"/>
          </a:p>
        </p:txBody>
      </p:sp>
      <p:sp>
        <p:nvSpPr>
          <p:cNvPr id="3" name="Fußzeilenplatzhalter 2">
            <a:extLst>
              <a:ext uri="{FF2B5EF4-FFF2-40B4-BE49-F238E27FC236}">
                <a16:creationId xmlns:a16="http://schemas.microsoft.com/office/drawing/2014/main" id="{40AD1742-691D-4813-997E-E3A9F53D8E6C}"/>
              </a:ext>
            </a:extLst>
          </p:cNvPr>
          <p:cNvSpPr>
            <a:spLocks noGrp="1"/>
          </p:cNvSpPr>
          <p:nvPr>
            <p:ph type="ftr" sz="quarter" idx="10"/>
          </p:nvPr>
        </p:nvSpPr>
        <p:spPr bwMode="gray"/>
        <p:txBody>
          <a:bodyPr/>
          <a:lstStyle>
            <a:lvl1pPr>
              <a:defRPr>
                <a:solidFill>
                  <a:schemeClr val="bg1"/>
                </a:solidFill>
              </a:defRPr>
            </a:lvl1pPr>
          </a:lstStyle>
          <a:p>
            <a:r>
              <a:rPr lang="en-US"/>
              <a:t>IAV  MM/YYYY  Department Code  Initials  Status: draft, confidential</a:t>
            </a:r>
            <a:endParaRPr lang="en-US" dirty="0"/>
          </a:p>
        </p:txBody>
      </p:sp>
      <p:sp>
        <p:nvSpPr>
          <p:cNvPr id="4" name="Foliennummernplatzhalter 3">
            <a:extLst>
              <a:ext uri="{FF2B5EF4-FFF2-40B4-BE49-F238E27FC236}">
                <a16:creationId xmlns:a16="http://schemas.microsoft.com/office/drawing/2014/main" id="{594252BC-C4CD-4D6D-B7F8-1B4C2665ADB5}"/>
              </a:ext>
            </a:extLst>
          </p:cNvPr>
          <p:cNvSpPr>
            <a:spLocks noGrp="1"/>
          </p:cNvSpPr>
          <p:nvPr>
            <p:ph type="sldNum" sz="quarter" idx="11"/>
          </p:nvPr>
        </p:nvSpPr>
        <p:spPr bwMode="gray"/>
        <p:txBody>
          <a:bodyPr/>
          <a:lstStyle>
            <a:lvl1pPr>
              <a:defRPr>
                <a:solidFill>
                  <a:schemeClr val="bg1"/>
                </a:solidFill>
              </a:defRPr>
            </a:lvl1pPr>
          </a:lstStyle>
          <a:p>
            <a:fld id="{C651C7C4-31E4-E340-822E-DEA0EA75A835}" type="slidenum">
              <a:rPr lang="en-US" smtClean="0"/>
              <a:pPr/>
              <a:t>‹#›</a:t>
            </a:fld>
            <a:endParaRPr lang="en-US" dirty="0"/>
          </a:p>
        </p:txBody>
      </p:sp>
    </p:spTree>
    <p:extLst>
      <p:ext uri="{BB962C8B-B14F-4D97-AF65-F5344CB8AC3E}">
        <p14:creationId xmlns:p14="http://schemas.microsoft.com/office/powerpoint/2010/main" val="595644910"/>
      </p:ext>
    </p:extLst>
  </p:cSld>
  <p:clrMapOvr>
    <a:masterClrMapping/>
  </p:clrMapOvr>
  <p:extLst>
    <p:ext uri="{DCECCB84-F9BA-43D5-87BE-67443E8EF086}">
      <p15:sldGuideLst xmlns:p15="http://schemas.microsoft.com/office/powerpoint/2012/main">
        <p15:guide id="1" orient="horz" pos="313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84D4B6-6919-4B05-9865-A84FDCB3F1A6}"/>
              </a:ext>
            </a:extLst>
          </p:cNvPr>
          <p:cNvSpPr>
            <a:spLocks noGrp="1"/>
          </p:cNvSpPr>
          <p:nvPr>
            <p:ph type="title" hasCustomPrompt="1"/>
            <p:custDataLst>
              <p:tags r:id="rId1"/>
            </p:custDataLst>
          </p:nvPr>
        </p:nvSpPr>
        <p:spPr/>
        <p:txBody>
          <a:bodyPr/>
          <a:lstStyle>
            <a:lvl1pPr>
              <a:defRPr/>
            </a:lvl1pPr>
          </a:lstStyle>
          <a:p>
            <a:r>
              <a:t>Click to Add a Title</a:t>
            </a:r>
          </a:p>
        </p:txBody>
      </p:sp>
      <p:sp>
        <p:nvSpPr>
          <p:cNvPr id="3" name="Text Placeholder 6">
            <a:extLst>
              <a:ext uri="{FF2B5EF4-FFF2-40B4-BE49-F238E27FC236}">
                <a16:creationId xmlns:a16="http://schemas.microsoft.com/office/drawing/2014/main" id="{9C032D36-66AB-4AEF-A795-4ED1CE7E776A}"/>
              </a:ext>
            </a:extLst>
          </p:cNvPr>
          <p:cNvSpPr>
            <a:spLocks noGrp="1"/>
          </p:cNvSpPr>
          <p:nvPr>
            <p:ph type="body" sz="quarter" idx="12" hasCustomPrompt="1"/>
            <p:custDataLst>
              <p:tags r:id="rId2"/>
            </p:custDataLst>
          </p:nvPr>
        </p:nvSpPr>
        <p:spPr>
          <a:xfrm>
            <a:off x="431409" y="950425"/>
            <a:ext cx="10657060" cy="345609"/>
          </a:xfrm>
        </p:spPr>
        <p:txBody>
          <a:bodyPr>
            <a:noAutofit/>
          </a:bodyPr>
          <a:lstStyle>
            <a:lvl1pPr marL="0" indent="0">
              <a:spcBef>
                <a:spcPts val="0"/>
              </a:spcBef>
              <a:buFont typeface="Arial" panose="020B0604020202020204" pitchFamily="34" charset="0"/>
              <a:buNone/>
              <a:defRPr sz="2079" i="0">
                <a:solidFill>
                  <a:schemeClr val="tx1"/>
                </a:solidFill>
              </a:defRPr>
            </a:lvl1pPr>
            <a:lvl2pPr marL="0" indent="0">
              <a:spcBef>
                <a:spcPts val="0"/>
              </a:spcBef>
              <a:buNone/>
              <a:defRPr sz="2268">
                <a:solidFill>
                  <a:schemeClr val="tx1">
                    <a:lumMod val="65000"/>
                    <a:lumOff val="35000"/>
                  </a:schemeClr>
                </a:solidFill>
              </a:defRPr>
            </a:lvl2pPr>
            <a:lvl3pPr marL="0" indent="0">
              <a:spcBef>
                <a:spcPts val="0"/>
              </a:spcBef>
              <a:buNone/>
              <a:defRPr sz="2268">
                <a:solidFill>
                  <a:schemeClr val="tx1">
                    <a:lumMod val="65000"/>
                    <a:lumOff val="35000"/>
                  </a:schemeClr>
                </a:solidFill>
              </a:defRPr>
            </a:lvl3pPr>
            <a:lvl4pPr marL="0" indent="0">
              <a:spcBef>
                <a:spcPts val="0"/>
              </a:spcBef>
              <a:buNone/>
              <a:defRPr sz="2268">
                <a:solidFill>
                  <a:schemeClr val="tx1">
                    <a:lumMod val="65000"/>
                    <a:lumOff val="35000"/>
                  </a:schemeClr>
                </a:solidFill>
              </a:defRPr>
            </a:lvl4pPr>
            <a:lvl5pPr marL="0" indent="0">
              <a:spcBef>
                <a:spcPts val="0"/>
              </a:spcBef>
              <a:buNone/>
              <a:defRPr sz="2268">
                <a:solidFill>
                  <a:schemeClr val="tx1">
                    <a:lumMod val="65000"/>
                    <a:lumOff val="35000"/>
                  </a:schemeClr>
                </a:solidFill>
              </a:defRPr>
            </a:lvl5pPr>
            <a:lvl6pPr marL="0" indent="0">
              <a:spcBef>
                <a:spcPts val="0"/>
              </a:spcBef>
              <a:buNone/>
              <a:defRPr sz="2268">
                <a:solidFill>
                  <a:schemeClr val="tx1">
                    <a:lumMod val="65000"/>
                    <a:lumOff val="35000"/>
                  </a:schemeClr>
                </a:solidFill>
              </a:defRPr>
            </a:lvl6pPr>
            <a:lvl7pPr marL="0" indent="0">
              <a:spcBef>
                <a:spcPts val="0"/>
              </a:spcBef>
              <a:buNone/>
              <a:defRPr sz="2268">
                <a:solidFill>
                  <a:schemeClr val="tx1">
                    <a:lumMod val="65000"/>
                    <a:lumOff val="35000"/>
                  </a:schemeClr>
                </a:solidFill>
              </a:defRPr>
            </a:lvl7pPr>
            <a:lvl8pPr marL="0" indent="0">
              <a:spcBef>
                <a:spcPts val="0"/>
              </a:spcBef>
              <a:buNone/>
              <a:defRPr sz="2268">
                <a:solidFill>
                  <a:schemeClr val="tx1">
                    <a:lumMod val="65000"/>
                    <a:lumOff val="35000"/>
                  </a:schemeClr>
                </a:solidFill>
              </a:defRPr>
            </a:lvl8pPr>
            <a:lvl9pPr marL="0" indent="0">
              <a:spcBef>
                <a:spcPts val="0"/>
              </a:spcBef>
              <a:buNone/>
              <a:defRPr sz="2268">
                <a:solidFill>
                  <a:schemeClr val="tx1">
                    <a:lumMod val="65000"/>
                    <a:lumOff val="35000"/>
                  </a:schemeClr>
                </a:solidFill>
              </a:defRPr>
            </a:lvl9pPr>
          </a:lstStyle>
          <a:p>
            <a:pPr lvl="0"/>
            <a:r>
              <a:t>Click to Add a Subtitle</a:t>
            </a:r>
          </a:p>
        </p:txBody>
      </p:sp>
    </p:spTree>
    <p:extLst>
      <p:ext uri="{BB962C8B-B14F-4D97-AF65-F5344CB8AC3E}">
        <p14:creationId xmlns:p14="http://schemas.microsoft.com/office/powerpoint/2010/main" val="13144426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2">
    <p:bg>
      <p:bgPr>
        <a:solidFill>
          <a:schemeClr val="tx1"/>
        </a:solidFill>
        <a:effectLst/>
      </p:bgPr>
    </p:bg>
    <p:spTree>
      <p:nvGrpSpPr>
        <p:cNvPr id="1" name=""/>
        <p:cNvGrpSpPr/>
        <p:nvPr/>
      </p:nvGrpSpPr>
      <p:grpSpPr>
        <a:xfrm>
          <a:off x="0" y="0"/>
          <a:ext cx="0" cy="0"/>
          <a:chOff x="0" y="0"/>
          <a:chExt cx="0" cy="0"/>
        </a:xfrm>
      </p:grpSpPr>
      <p:pic>
        <p:nvPicPr>
          <p:cNvPr id="19" name="Bildplatzhalter 48">
            <a:extLst>
              <a:ext uri="{FF2B5EF4-FFF2-40B4-BE49-F238E27FC236}">
                <a16:creationId xmlns:a16="http://schemas.microsoft.com/office/drawing/2014/main" id="{6B601E17-8A59-4A30-A3C9-0755A73AA802}"/>
              </a:ext>
            </a:extLst>
          </p:cNvPr>
          <p:cNvPicPr>
            <a:picLocks noChangeAspect="1"/>
          </p:cNvPicPr>
          <p:nvPr userDrawn="1"/>
        </p:nvPicPr>
        <p:blipFill>
          <a:blip r:embed="rId2">
            <a:extLst>
              <a:ext uri="{28A0092B-C50C-407E-A947-70E740481C1C}">
                <a14:useLocalDpi xmlns:a14="http://schemas.microsoft.com/office/drawing/2010/main" val="0"/>
              </a:ext>
            </a:extLst>
          </a:blip>
          <a:srcRect l="144" r="144"/>
          <a:stretch/>
        </p:blipFill>
        <p:spPr>
          <a:xfrm>
            <a:off x="-396" y="-273"/>
            <a:ext cx="11520884" cy="6480448"/>
          </a:xfrm>
          <a:prstGeom prst="rect">
            <a:avLst/>
          </a:prstGeom>
        </p:spPr>
      </p:pic>
      <p:pic>
        <p:nvPicPr>
          <p:cNvPr id="20" name="IAV_Logo">
            <a:extLst>
              <a:ext uri="{FF2B5EF4-FFF2-40B4-BE49-F238E27FC236}">
                <a16:creationId xmlns:a16="http://schemas.microsoft.com/office/drawing/2014/main" id="{50DAB219-8AD2-42BC-9BBF-87F7082EE351}"/>
              </a:ext>
            </a:extLst>
          </p:cNvPr>
          <p:cNvPicPr>
            <a:picLocks noChangeAspect="1"/>
          </p:cNvPicPr>
          <p:nvPr userDrawn="1"/>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048337" y="4824263"/>
            <a:ext cx="2148511" cy="1188000"/>
          </a:xfrm>
          <a:prstGeom prst="rect">
            <a:avLst/>
          </a:prstGeom>
        </p:spPr>
      </p:pic>
      <p:sp>
        <p:nvSpPr>
          <p:cNvPr id="2" name="Titel 1">
            <a:extLst>
              <a:ext uri="{FF2B5EF4-FFF2-40B4-BE49-F238E27FC236}">
                <a16:creationId xmlns:a16="http://schemas.microsoft.com/office/drawing/2014/main" id="{56076F01-17EC-4724-B8CD-18FD44ECA277}"/>
              </a:ext>
            </a:extLst>
          </p:cNvPr>
          <p:cNvSpPr>
            <a:spLocks noGrp="1"/>
          </p:cNvSpPr>
          <p:nvPr>
            <p:ph type="title" hasCustomPrompt="1"/>
          </p:nvPr>
        </p:nvSpPr>
        <p:spPr>
          <a:xfrm>
            <a:off x="539750" y="3376402"/>
            <a:ext cx="8280000" cy="403745"/>
          </a:xfrm>
        </p:spPr>
        <p:txBody>
          <a:bodyPr anchor="b">
            <a:spAutoFit/>
          </a:bodyPr>
          <a:lstStyle>
            <a:lvl1pPr>
              <a:lnSpc>
                <a:spcPct val="100000"/>
              </a:lnSpc>
              <a:defRPr sz="2600">
                <a:solidFill>
                  <a:schemeClr val="accent5"/>
                </a:solidFill>
              </a:defRPr>
            </a:lvl1pPr>
          </a:lstStyle>
          <a:p>
            <a:r>
              <a:rPr lang="en-US" dirty="0"/>
              <a:t>Insert Presentation Title</a:t>
            </a:r>
          </a:p>
        </p:txBody>
      </p:sp>
      <p:sp>
        <p:nvSpPr>
          <p:cNvPr id="11" name="Fußzeilenplatzhalter 3">
            <a:extLst>
              <a:ext uri="{FF2B5EF4-FFF2-40B4-BE49-F238E27FC236}">
                <a16:creationId xmlns:a16="http://schemas.microsoft.com/office/drawing/2014/main" id="{B83318C4-BD94-43DC-9006-08A86888342C}"/>
              </a:ext>
            </a:extLst>
          </p:cNvPr>
          <p:cNvSpPr>
            <a:spLocks noGrp="1"/>
          </p:cNvSpPr>
          <p:nvPr>
            <p:ph type="ftr" sz="quarter" idx="3"/>
          </p:nvPr>
        </p:nvSpPr>
        <p:spPr bwMode="gray">
          <a:xfrm>
            <a:off x="647676" y="6516432"/>
            <a:ext cx="288000" cy="36000"/>
          </a:xfrm>
          <a:prstGeom prst="rect">
            <a:avLst/>
          </a:prstGeom>
        </p:spPr>
        <p:txBody>
          <a:bodyPr vert="horz" lIns="0" tIns="0" rIns="0" bIns="0" rtlCol="0" anchor="ctr"/>
          <a:lstStyle>
            <a:lvl1pPr algn="l">
              <a:defRPr sz="100">
                <a:solidFill>
                  <a:srgbClr val="E6E6E6"/>
                </a:solidFill>
              </a:defRPr>
            </a:lvl1pPr>
          </a:lstStyle>
          <a:p>
            <a:r>
              <a:rPr lang="en-US"/>
              <a:t>IAV  MM/JJJJ  Abteilungskürzel  Namenskürzel  Status: Entwurf, vertraulich</a:t>
            </a:r>
            <a:endParaRPr lang="en-US" dirty="0"/>
          </a:p>
        </p:txBody>
      </p:sp>
      <p:sp>
        <p:nvSpPr>
          <p:cNvPr id="12" name="Foliennummernplatzhalter 4">
            <a:extLst>
              <a:ext uri="{FF2B5EF4-FFF2-40B4-BE49-F238E27FC236}">
                <a16:creationId xmlns:a16="http://schemas.microsoft.com/office/drawing/2014/main" id="{8F0656A1-F47D-4352-8B2B-0ACAE4E82B9E}"/>
              </a:ext>
            </a:extLst>
          </p:cNvPr>
          <p:cNvSpPr>
            <a:spLocks noGrp="1"/>
          </p:cNvSpPr>
          <p:nvPr>
            <p:ph type="sldNum" sz="quarter" idx="4"/>
          </p:nvPr>
        </p:nvSpPr>
        <p:spPr bwMode="gray">
          <a:xfrm>
            <a:off x="539664" y="6516455"/>
            <a:ext cx="72008" cy="36000"/>
          </a:xfrm>
          <a:prstGeom prst="rect">
            <a:avLst/>
          </a:prstGeom>
        </p:spPr>
        <p:txBody>
          <a:bodyPr vert="horz" lIns="0" tIns="0" rIns="0" bIns="0" rtlCol="0" anchor="ctr"/>
          <a:lstStyle>
            <a:lvl1pPr algn="l">
              <a:defRPr sz="100">
                <a:solidFill>
                  <a:srgbClr val="E6E6E6"/>
                </a:solidFill>
              </a:defRPr>
            </a:lvl1pPr>
          </a:lstStyle>
          <a:p>
            <a:fld id="{C651C7C4-31E4-E340-822E-DEA0EA75A835}" type="slidenum">
              <a:rPr lang="en-US" smtClean="0"/>
              <a:pPr/>
              <a:t>‹#›</a:t>
            </a:fld>
            <a:endParaRPr lang="en-US" dirty="0"/>
          </a:p>
        </p:txBody>
      </p:sp>
      <p:sp>
        <p:nvSpPr>
          <p:cNvPr id="8" name="Textplatzhalter 8">
            <a:extLst>
              <a:ext uri="{FF2B5EF4-FFF2-40B4-BE49-F238E27FC236}">
                <a16:creationId xmlns:a16="http://schemas.microsoft.com/office/drawing/2014/main" id="{AFAD9856-3C3B-41AA-8777-BA13CE8222E9}"/>
              </a:ext>
            </a:extLst>
          </p:cNvPr>
          <p:cNvSpPr>
            <a:spLocks noGrp="1" noChangeAspect="1"/>
          </p:cNvSpPr>
          <p:nvPr>
            <p:ph type="body" sz="quarter" idx="13" hasCustomPrompt="1"/>
          </p:nvPr>
        </p:nvSpPr>
        <p:spPr bwMode="gray">
          <a:xfrm>
            <a:off x="539750" y="3960813"/>
            <a:ext cx="8280400" cy="493277"/>
          </a:xfrm>
        </p:spPr>
        <p:txBody>
          <a:bodyPr>
            <a:spAutoFit/>
          </a:bodyPr>
          <a:lstStyle>
            <a:lvl1pPr marL="0" indent="0">
              <a:lnSpc>
                <a:spcPct val="120000"/>
              </a:lnSpc>
              <a:spcBef>
                <a:spcPts val="0"/>
              </a:spcBef>
              <a:spcAft>
                <a:spcPts val="0"/>
              </a:spcAft>
              <a:buNone/>
              <a:defRPr sz="1400">
                <a:solidFill>
                  <a:srgbClr val="A200E6"/>
                </a:solidFill>
              </a:defRPr>
            </a:lvl1pPr>
            <a:lvl2pPr marL="180000" indent="0">
              <a:buNone/>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r>
              <a:rPr lang="en-US"/>
              <a:t>Subtitle</a:t>
            </a:r>
          </a:p>
          <a:p>
            <a:r>
              <a:rPr lang="en-US"/>
              <a:t>Name </a:t>
            </a:r>
            <a:r>
              <a:rPr lang="en-US" dirty="0"/>
              <a:t>Surname, Month YYYY</a:t>
            </a:r>
          </a:p>
        </p:txBody>
      </p:sp>
    </p:spTree>
    <p:extLst>
      <p:ext uri="{BB962C8B-B14F-4D97-AF65-F5344CB8AC3E}">
        <p14:creationId xmlns:p14="http://schemas.microsoft.com/office/powerpoint/2010/main" val="4099379384"/>
      </p:ext>
    </p:extLst>
  </p:cSld>
  <p:clrMapOvr>
    <a:masterClrMapping/>
  </p:clrMapOvr>
  <p:extLst>
    <p:ext uri="{DCECCB84-F9BA-43D5-87BE-67443E8EF086}">
      <p15:sldGuideLst xmlns:p15="http://schemas.microsoft.com/office/powerpoint/2012/main">
        <p15:guide id="2" orient="horz" pos="2495" userDrawn="1">
          <p15:clr>
            <a:srgbClr val="FBAE40"/>
          </p15:clr>
        </p15:guide>
        <p15:guide id="4" orient="horz" pos="2381" userDrawn="1">
          <p15:clr>
            <a:srgbClr val="FBAE40"/>
          </p15:clr>
        </p15:guide>
        <p15:guide id="5" pos="5556"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3">
    <p:bg>
      <p:bgPr>
        <a:solidFill>
          <a:schemeClr val="tx1"/>
        </a:solidFill>
        <a:effectLst/>
      </p:bgPr>
    </p:bg>
    <p:spTree>
      <p:nvGrpSpPr>
        <p:cNvPr id="1" name=""/>
        <p:cNvGrpSpPr/>
        <p:nvPr/>
      </p:nvGrpSpPr>
      <p:grpSpPr>
        <a:xfrm>
          <a:off x="0" y="0"/>
          <a:ext cx="0" cy="0"/>
          <a:chOff x="0" y="0"/>
          <a:chExt cx="0" cy="0"/>
        </a:xfrm>
      </p:grpSpPr>
      <p:pic>
        <p:nvPicPr>
          <p:cNvPr id="19" name="Bildplatzhalter 48">
            <a:extLst>
              <a:ext uri="{FF2B5EF4-FFF2-40B4-BE49-F238E27FC236}">
                <a16:creationId xmlns:a16="http://schemas.microsoft.com/office/drawing/2014/main" id="{6B601E17-8A59-4A30-A3C9-0755A73AA802}"/>
              </a:ext>
            </a:extLst>
          </p:cNvPr>
          <p:cNvPicPr>
            <a:picLocks noChangeAspect="1"/>
          </p:cNvPicPr>
          <p:nvPr userDrawn="1"/>
        </p:nvPicPr>
        <p:blipFill>
          <a:blip r:embed="rId2">
            <a:extLst>
              <a:ext uri="{28A0092B-C50C-407E-A947-70E740481C1C}">
                <a14:useLocalDpi xmlns:a14="http://schemas.microsoft.com/office/drawing/2010/main" val="0"/>
              </a:ext>
            </a:extLst>
          </a:blip>
          <a:srcRect l="118" r="118"/>
          <a:stretch/>
        </p:blipFill>
        <p:spPr>
          <a:xfrm>
            <a:off x="-396" y="-273"/>
            <a:ext cx="11520884" cy="6480448"/>
          </a:xfrm>
          <a:prstGeom prst="rect">
            <a:avLst/>
          </a:prstGeom>
        </p:spPr>
      </p:pic>
      <p:pic>
        <p:nvPicPr>
          <p:cNvPr id="20" name="IAV_Logo">
            <a:extLst>
              <a:ext uri="{FF2B5EF4-FFF2-40B4-BE49-F238E27FC236}">
                <a16:creationId xmlns:a16="http://schemas.microsoft.com/office/drawing/2014/main" id="{50DAB219-8AD2-42BC-9BBF-87F7082EE351}"/>
              </a:ext>
            </a:extLst>
          </p:cNvPr>
          <p:cNvPicPr>
            <a:picLocks noChangeAspect="1"/>
          </p:cNvPicPr>
          <p:nvPr userDrawn="1"/>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048337" y="4824263"/>
            <a:ext cx="2148511" cy="1188000"/>
          </a:xfrm>
          <a:prstGeom prst="rect">
            <a:avLst/>
          </a:prstGeom>
        </p:spPr>
      </p:pic>
      <p:sp>
        <p:nvSpPr>
          <p:cNvPr id="2" name="Titel 1">
            <a:extLst>
              <a:ext uri="{FF2B5EF4-FFF2-40B4-BE49-F238E27FC236}">
                <a16:creationId xmlns:a16="http://schemas.microsoft.com/office/drawing/2014/main" id="{56076F01-17EC-4724-B8CD-18FD44ECA277}"/>
              </a:ext>
            </a:extLst>
          </p:cNvPr>
          <p:cNvSpPr>
            <a:spLocks noGrp="1"/>
          </p:cNvSpPr>
          <p:nvPr>
            <p:ph type="title" hasCustomPrompt="1"/>
          </p:nvPr>
        </p:nvSpPr>
        <p:spPr bwMode="gray">
          <a:xfrm>
            <a:off x="539750" y="3376402"/>
            <a:ext cx="8280000" cy="403745"/>
          </a:xfrm>
        </p:spPr>
        <p:txBody>
          <a:bodyPr anchor="b">
            <a:spAutoFit/>
          </a:bodyPr>
          <a:lstStyle>
            <a:lvl1pPr>
              <a:lnSpc>
                <a:spcPct val="100000"/>
              </a:lnSpc>
              <a:defRPr sz="2600">
                <a:solidFill>
                  <a:srgbClr val="D3F5FF"/>
                </a:solidFill>
              </a:defRPr>
            </a:lvl1pPr>
          </a:lstStyle>
          <a:p>
            <a:r>
              <a:rPr lang="en-US"/>
              <a:t>Insert Presentation Title</a:t>
            </a:r>
            <a:endParaRPr lang="en-US" dirty="0"/>
          </a:p>
        </p:txBody>
      </p:sp>
      <p:sp>
        <p:nvSpPr>
          <p:cNvPr id="11" name="Fußzeilenplatzhalter 3">
            <a:extLst>
              <a:ext uri="{FF2B5EF4-FFF2-40B4-BE49-F238E27FC236}">
                <a16:creationId xmlns:a16="http://schemas.microsoft.com/office/drawing/2014/main" id="{2B9561BF-FEB5-4CA5-813F-2611C0CBE2D1}"/>
              </a:ext>
            </a:extLst>
          </p:cNvPr>
          <p:cNvSpPr>
            <a:spLocks noGrp="1"/>
          </p:cNvSpPr>
          <p:nvPr>
            <p:ph type="ftr" sz="quarter" idx="3"/>
          </p:nvPr>
        </p:nvSpPr>
        <p:spPr bwMode="gray">
          <a:xfrm>
            <a:off x="647676" y="6516432"/>
            <a:ext cx="288000" cy="36000"/>
          </a:xfrm>
          <a:prstGeom prst="rect">
            <a:avLst/>
          </a:prstGeom>
        </p:spPr>
        <p:txBody>
          <a:bodyPr vert="horz" lIns="0" tIns="0" rIns="0" bIns="0" rtlCol="0" anchor="ctr"/>
          <a:lstStyle>
            <a:lvl1pPr algn="l">
              <a:defRPr sz="100">
                <a:solidFill>
                  <a:srgbClr val="E6E6E6"/>
                </a:solidFill>
              </a:defRPr>
            </a:lvl1pPr>
          </a:lstStyle>
          <a:p>
            <a:r>
              <a:rPr lang="en-US"/>
              <a:t>IAV  MM/JJJJ  Abteilungskürzel  Namenskürzel  Status: Entwurf, vertraulich</a:t>
            </a:r>
            <a:endParaRPr lang="en-US" dirty="0"/>
          </a:p>
        </p:txBody>
      </p:sp>
      <p:sp>
        <p:nvSpPr>
          <p:cNvPr id="12" name="Foliennummernplatzhalter 4">
            <a:extLst>
              <a:ext uri="{FF2B5EF4-FFF2-40B4-BE49-F238E27FC236}">
                <a16:creationId xmlns:a16="http://schemas.microsoft.com/office/drawing/2014/main" id="{B849EDEA-24A2-4C2D-A4BF-FD512C50E419}"/>
              </a:ext>
            </a:extLst>
          </p:cNvPr>
          <p:cNvSpPr>
            <a:spLocks noGrp="1"/>
          </p:cNvSpPr>
          <p:nvPr>
            <p:ph type="sldNum" sz="quarter" idx="4"/>
          </p:nvPr>
        </p:nvSpPr>
        <p:spPr bwMode="gray">
          <a:xfrm>
            <a:off x="539664" y="6516455"/>
            <a:ext cx="72008" cy="36000"/>
          </a:xfrm>
          <a:prstGeom prst="rect">
            <a:avLst/>
          </a:prstGeom>
        </p:spPr>
        <p:txBody>
          <a:bodyPr vert="horz" lIns="0" tIns="0" rIns="0" bIns="0" rtlCol="0" anchor="ctr"/>
          <a:lstStyle>
            <a:lvl1pPr algn="l">
              <a:defRPr sz="100">
                <a:solidFill>
                  <a:srgbClr val="E6E6E6"/>
                </a:solidFill>
              </a:defRPr>
            </a:lvl1pPr>
          </a:lstStyle>
          <a:p>
            <a:fld id="{C651C7C4-31E4-E340-822E-DEA0EA75A835}" type="slidenum">
              <a:rPr lang="en-US" smtClean="0"/>
              <a:pPr/>
              <a:t>‹#›</a:t>
            </a:fld>
            <a:endParaRPr lang="en-US" dirty="0"/>
          </a:p>
        </p:txBody>
      </p:sp>
      <p:sp>
        <p:nvSpPr>
          <p:cNvPr id="8" name="Textplatzhalter 8">
            <a:extLst>
              <a:ext uri="{FF2B5EF4-FFF2-40B4-BE49-F238E27FC236}">
                <a16:creationId xmlns:a16="http://schemas.microsoft.com/office/drawing/2014/main" id="{B32981B4-3BC1-47D9-9ADF-F4F3B2058AF2}"/>
              </a:ext>
            </a:extLst>
          </p:cNvPr>
          <p:cNvSpPr>
            <a:spLocks noGrp="1" noChangeAspect="1"/>
          </p:cNvSpPr>
          <p:nvPr>
            <p:ph type="body" sz="quarter" idx="13" hasCustomPrompt="1"/>
          </p:nvPr>
        </p:nvSpPr>
        <p:spPr bwMode="gray">
          <a:xfrm>
            <a:off x="539750" y="3960813"/>
            <a:ext cx="8280400" cy="493277"/>
          </a:xfrm>
        </p:spPr>
        <p:txBody>
          <a:bodyPr>
            <a:spAutoFit/>
          </a:bodyPr>
          <a:lstStyle>
            <a:lvl1pPr marL="0" indent="0">
              <a:lnSpc>
                <a:spcPct val="120000"/>
              </a:lnSpc>
              <a:spcBef>
                <a:spcPts val="0"/>
              </a:spcBef>
              <a:spcAft>
                <a:spcPts val="0"/>
              </a:spcAft>
              <a:buNone/>
              <a:defRPr sz="1400">
                <a:solidFill>
                  <a:srgbClr val="FFFFFF"/>
                </a:solidFill>
              </a:defRPr>
            </a:lvl1pPr>
            <a:lvl2pPr marL="180000" indent="0">
              <a:buNone/>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r>
              <a:rPr lang="en-US"/>
              <a:t>Subtitle</a:t>
            </a:r>
          </a:p>
          <a:p>
            <a:r>
              <a:rPr lang="en-US"/>
              <a:t>Name </a:t>
            </a:r>
            <a:r>
              <a:rPr lang="en-US" dirty="0"/>
              <a:t>Surname, Month YYYY</a:t>
            </a:r>
          </a:p>
        </p:txBody>
      </p:sp>
    </p:spTree>
    <p:extLst>
      <p:ext uri="{BB962C8B-B14F-4D97-AF65-F5344CB8AC3E}">
        <p14:creationId xmlns:p14="http://schemas.microsoft.com/office/powerpoint/2010/main" val="856243127"/>
      </p:ext>
    </p:extLst>
  </p:cSld>
  <p:clrMapOvr>
    <a:masterClrMapping/>
  </p:clrMapOvr>
  <p:extLst>
    <p:ext uri="{DCECCB84-F9BA-43D5-87BE-67443E8EF086}">
      <p15:sldGuideLst xmlns:p15="http://schemas.microsoft.com/office/powerpoint/2012/main">
        <p15:guide id="2" orient="horz" pos="2381" userDrawn="1">
          <p15:clr>
            <a:srgbClr val="FBAE40"/>
          </p15:clr>
        </p15:guide>
        <p15:guide id="3" pos="5556">
          <p15:clr>
            <a:srgbClr val="FBAE40"/>
          </p15:clr>
        </p15:guide>
        <p15:guide id="4" orient="horz" pos="2495"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Picture 1">
    <p:bg>
      <p:bgPr>
        <a:solidFill>
          <a:schemeClr val="tx1"/>
        </a:solidFill>
        <a:effectLst/>
      </p:bgPr>
    </p:bg>
    <p:spTree>
      <p:nvGrpSpPr>
        <p:cNvPr id="1" name=""/>
        <p:cNvGrpSpPr/>
        <p:nvPr/>
      </p:nvGrpSpPr>
      <p:grpSpPr>
        <a:xfrm>
          <a:off x="0" y="0"/>
          <a:ext cx="0" cy="0"/>
          <a:chOff x="0" y="0"/>
          <a:chExt cx="0" cy="0"/>
        </a:xfrm>
      </p:grpSpPr>
      <p:pic>
        <p:nvPicPr>
          <p:cNvPr id="19" name="Bildplatzhalter 48">
            <a:extLst>
              <a:ext uri="{FF2B5EF4-FFF2-40B4-BE49-F238E27FC236}">
                <a16:creationId xmlns:a16="http://schemas.microsoft.com/office/drawing/2014/main" id="{6B601E17-8A59-4A30-A3C9-0755A73AA80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96" y="-273"/>
            <a:ext cx="11520884" cy="6480448"/>
          </a:xfrm>
          <a:prstGeom prst="rect">
            <a:avLst/>
          </a:prstGeom>
        </p:spPr>
      </p:pic>
      <p:pic>
        <p:nvPicPr>
          <p:cNvPr id="20" name="IAV_Logo">
            <a:extLst>
              <a:ext uri="{FF2B5EF4-FFF2-40B4-BE49-F238E27FC236}">
                <a16:creationId xmlns:a16="http://schemas.microsoft.com/office/drawing/2014/main" id="{50DAB219-8AD2-42BC-9BBF-87F7082EE351}"/>
              </a:ext>
            </a:extLst>
          </p:cNvPr>
          <p:cNvPicPr>
            <a:picLocks noChangeAspect="1"/>
          </p:cNvPicPr>
          <p:nvPr userDrawn="1"/>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048337" y="4824263"/>
            <a:ext cx="2148511" cy="1188000"/>
          </a:xfrm>
          <a:prstGeom prst="rect">
            <a:avLst/>
          </a:prstGeom>
        </p:spPr>
      </p:pic>
      <p:sp>
        <p:nvSpPr>
          <p:cNvPr id="2" name="Titel 1">
            <a:extLst>
              <a:ext uri="{FF2B5EF4-FFF2-40B4-BE49-F238E27FC236}">
                <a16:creationId xmlns:a16="http://schemas.microsoft.com/office/drawing/2014/main" id="{56076F01-17EC-4724-B8CD-18FD44ECA277}"/>
              </a:ext>
            </a:extLst>
          </p:cNvPr>
          <p:cNvSpPr>
            <a:spLocks noGrp="1"/>
          </p:cNvSpPr>
          <p:nvPr>
            <p:ph type="title" hasCustomPrompt="1"/>
          </p:nvPr>
        </p:nvSpPr>
        <p:spPr bwMode="gray">
          <a:xfrm>
            <a:off x="6840538" y="2296282"/>
            <a:ext cx="4140200" cy="403745"/>
          </a:xfrm>
        </p:spPr>
        <p:txBody>
          <a:bodyPr wrap="square" anchor="b">
            <a:spAutoFit/>
          </a:bodyPr>
          <a:lstStyle>
            <a:lvl1pPr>
              <a:lnSpc>
                <a:spcPct val="100000"/>
              </a:lnSpc>
              <a:defRPr sz="2600">
                <a:solidFill>
                  <a:srgbClr val="FFFFFF"/>
                </a:solidFill>
              </a:defRPr>
            </a:lvl1pPr>
          </a:lstStyle>
          <a:p>
            <a:r>
              <a:rPr lang="en-US" dirty="0"/>
              <a:t>Insert Presentation Title</a:t>
            </a:r>
          </a:p>
        </p:txBody>
      </p:sp>
      <p:sp>
        <p:nvSpPr>
          <p:cNvPr id="11" name="Bildplatzhalter 3">
            <a:extLst>
              <a:ext uri="{FF2B5EF4-FFF2-40B4-BE49-F238E27FC236}">
                <a16:creationId xmlns:a16="http://schemas.microsoft.com/office/drawing/2014/main" id="{F906D935-205A-46E0-B7F7-AE8CD546FB1D}"/>
              </a:ext>
            </a:extLst>
          </p:cNvPr>
          <p:cNvSpPr>
            <a:spLocks noGrp="1"/>
          </p:cNvSpPr>
          <p:nvPr>
            <p:ph type="pic" sz="quarter" idx="13" hasCustomPrompt="1"/>
          </p:nvPr>
        </p:nvSpPr>
        <p:spPr>
          <a:xfrm>
            <a:off x="0" y="0"/>
            <a:ext cx="6480175" cy="6480175"/>
          </a:xfrm>
        </p:spPr>
        <p:txBody>
          <a:bodyPr anchor="ctr"/>
          <a:lstStyle>
            <a:lvl1pPr marL="0" indent="0" algn="ctr">
              <a:buNone/>
              <a:defRPr>
                <a:solidFill>
                  <a:schemeClr val="accent6"/>
                </a:solidFill>
              </a:defRPr>
            </a:lvl1pPr>
          </a:lstStyle>
          <a:p>
            <a:r>
              <a:rPr lang="en-US" dirty="0"/>
              <a:t>Insert picture</a:t>
            </a:r>
          </a:p>
        </p:txBody>
      </p:sp>
      <p:sp>
        <p:nvSpPr>
          <p:cNvPr id="10" name="Fußzeilenplatzhalter 3">
            <a:extLst>
              <a:ext uri="{FF2B5EF4-FFF2-40B4-BE49-F238E27FC236}">
                <a16:creationId xmlns:a16="http://schemas.microsoft.com/office/drawing/2014/main" id="{6452B407-9BA3-43DF-B838-3AB187064977}"/>
              </a:ext>
            </a:extLst>
          </p:cNvPr>
          <p:cNvSpPr>
            <a:spLocks noGrp="1"/>
          </p:cNvSpPr>
          <p:nvPr>
            <p:ph type="ftr" sz="quarter" idx="3"/>
          </p:nvPr>
        </p:nvSpPr>
        <p:spPr bwMode="gray">
          <a:xfrm>
            <a:off x="647676" y="6516432"/>
            <a:ext cx="288000" cy="36000"/>
          </a:xfrm>
          <a:prstGeom prst="rect">
            <a:avLst/>
          </a:prstGeom>
        </p:spPr>
        <p:txBody>
          <a:bodyPr vert="horz" lIns="0" tIns="0" rIns="0" bIns="0" rtlCol="0" anchor="ctr"/>
          <a:lstStyle>
            <a:lvl1pPr algn="l">
              <a:defRPr sz="100">
                <a:solidFill>
                  <a:srgbClr val="E6E6E6"/>
                </a:solidFill>
              </a:defRPr>
            </a:lvl1pPr>
          </a:lstStyle>
          <a:p>
            <a:r>
              <a:rPr lang="en-US"/>
              <a:t>IAV  MM/JJJJ  Abteilungskürzel  Namenskürzel  Status: Entwurf, vertraulich</a:t>
            </a:r>
            <a:endParaRPr lang="en-US" dirty="0"/>
          </a:p>
        </p:txBody>
      </p:sp>
      <p:sp>
        <p:nvSpPr>
          <p:cNvPr id="14" name="Foliennummernplatzhalter 4">
            <a:extLst>
              <a:ext uri="{FF2B5EF4-FFF2-40B4-BE49-F238E27FC236}">
                <a16:creationId xmlns:a16="http://schemas.microsoft.com/office/drawing/2014/main" id="{6F00AF9B-1F52-4E4D-ABDB-C06334A65582}"/>
              </a:ext>
            </a:extLst>
          </p:cNvPr>
          <p:cNvSpPr>
            <a:spLocks noGrp="1"/>
          </p:cNvSpPr>
          <p:nvPr>
            <p:ph type="sldNum" sz="quarter" idx="4"/>
          </p:nvPr>
        </p:nvSpPr>
        <p:spPr bwMode="gray">
          <a:xfrm>
            <a:off x="539664" y="6516455"/>
            <a:ext cx="72008" cy="36000"/>
          </a:xfrm>
          <a:prstGeom prst="rect">
            <a:avLst/>
          </a:prstGeom>
        </p:spPr>
        <p:txBody>
          <a:bodyPr vert="horz" lIns="0" tIns="0" rIns="0" bIns="0" rtlCol="0" anchor="ctr"/>
          <a:lstStyle>
            <a:lvl1pPr algn="l">
              <a:defRPr sz="100">
                <a:solidFill>
                  <a:srgbClr val="E6E6E6"/>
                </a:solidFill>
              </a:defRPr>
            </a:lvl1pPr>
          </a:lstStyle>
          <a:p>
            <a:fld id="{C651C7C4-31E4-E340-822E-DEA0EA75A835}" type="slidenum">
              <a:rPr lang="en-US" smtClean="0"/>
              <a:pPr/>
              <a:t>‹#›</a:t>
            </a:fld>
            <a:endParaRPr lang="en-US" dirty="0"/>
          </a:p>
        </p:txBody>
      </p:sp>
      <p:sp>
        <p:nvSpPr>
          <p:cNvPr id="13" name="Textplatzhalter 8">
            <a:extLst>
              <a:ext uri="{FF2B5EF4-FFF2-40B4-BE49-F238E27FC236}">
                <a16:creationId xmlns:a16="http://schemas.microsoft.com/office/drawing/2014/main" id="{D7207042-88FC-4C4A-8B3D-30F79C7453F4}"/>
              </a:ext>
            </a:extLst>
          </p:cNvPr>
          <p:cNvSpPr>
            <a:spLocks noGrp="1"/>
          </p:cNvSpPr>
          <p:nvPr>
            <p:ph type="body" sz="quarter" idx="12" hasCustomPrompt="1"/>
          </p:nvPr>
        </p:nvSpPr>
        <p:spPr bwMode="gray">
          <a:xfrm>
            <a:off x="6840538" y="2880047"/>
            <a:ext cx="3960812" cy="493277"/>
          </a:xfrm>
        </p:spPr>
        <p:txBody>
          <a:bodyPr wrap="square">
            <a:spAutoFit/>
          </a:bodyPr>
          <a:lstStyle>
            <a:lvl1pPr marL="0" indent="0">
              <a:lnSpc>
                <a:spcPct val="120000"/>
              </a:lnSpc>
              <a:spcBef>
                <a:spcPts val="0"/>
              </a:spcBef>
              <a:spcAft>
                <a:spcPts val="0"/>
              </a:spcAft>
              <a:buNone/>
              <a:defRPr sz="1400">
                <a:solidFill>
                  <a:srgbClr val="FFFFFF"/>
                </a:solidFill>
              </a:defRPr>
            </a:lvl1pPr>
            <a:lvl2pPr marL="180000" indent="0">
              <a:buNone/>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r>
              <a:rPr lang="en-US"/>
              <a:t>Subtitle</a:t>
            </a:r>
          </a:p>
          <a:p>
            <a:r>
              <a:rPr lang="en-US"/>
              <a:t>Name </a:t>
            </a:r>
            <a:r>
              <a:rPr lang="en-US" dirty="0"/>
              <a:t>Surname, Month YYYY</a:t>
            </a:r>
          </a:p>
        </p:txBody>
      </p:sp>
    </p:spTree>
    <p:extLst>
      <p:ext uri="{BB962C8B-B14F-4D97-AF65-F5344CB8AC3E}">
        <p14:creationId xmlns:p14="http://schemas.microsoft.com/office/powerpoint/2010/main" val="720775299"/>
      </p:ext>
    </p:extLst>
  </p:cSld>
  <p:clrMapOvr>
    <a:masterClrMapping/>
  </p:clrMapOvr>
  <p:extLst>
    <p:ext uri="{DCECCB84-F9BA-43D5-87BE-67443E8EF086}">
      <p15:sldGuideLst xmlns:p15="http://schemas.microsoft.com/office/powerpoint/2012/main">
        <p15:guide id="2" orient="horz" pos="1814" userDrawn="1">
          <p15:clr>
            <a:srgbClr val="FBAE40"/>
          </p15:clr>
        </p15:guide>
        <p15:guide id="4" orient="horz" pos="1701" userDrawn="1">
          <p15:clr>
            <a:srgbClr val="FBAE40"/>
          </p15:clr>
        </p15:guide>
        <p15:guide id="5" pos="4082" userDrawn="1">
          <p15:clr>
            <a:srgbClr val="FBAE40"/>
          </p15:clr>
        </p15:guide>
        <p15:guide id="6" pos="4309"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Picture 2">
    <p:bg>
      <p:bgPr>
        <a:solidFill>
          <a:schemeClr val="tx1"/>
        </a:solidFill>
        <a:effectLst/>
      </p:bgPr>
    </p:bg>
    <p:spTree>
      <p:nvGrpSpPr>
        <p:cNvPr id="1" name=""/>
        <p:cNvGrpSpPr/>
        <p:nvPr/>
      </p:nvGrpSpPr>
      <p:grpSpPr>
        <a:xfrm>
          <a:off x="0" y="0"/>
          <a:ext cx="0" cy="0"/>
          <a:chOff x="0" y="0"/>
          <a:chExt cx="0" cy="0"/>
        </a:xfrm>
      </p:grpSpPr>
      <p:pic>
        <p:nvPicPr>
          <p:cNvPr id="19" name="Bildplatzhalter 48">
            <a:extLst>
              <a:ext uri="{FF2B5EF4-FFF2-40B4-BE49-F238E27FC236}">
                <a16:creationId xmlns:a16="http://schemas.microsoft.com/office/drawing/2014/main" id="{6B601E17-8A59-4A30-A3C9-0755A73AA80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52" y="-273"/>
            <a:ext cx="11520796" cy="6480448"/>
          </a:xfrm>
          <a:prstGeom prst="rect">
            <a:avLst/>
          </a:prstGeom>
        </p:spPr>
      </p:pic>
      <p:pic>
        <p:nvPicPr>
          <p:cNvPr id="20" name="IAV_Logo">
            <a:extLst>
              <a:ext uri="{FF2B5EF4-FFF2-40B4-BE49-F238E27FC236}">
                <a16:creationId xmlns:a16="http://schemas.microsoft.com/office/drawing/2014/main" id="{50DAB219-8AD2-42BC-9BBF-87F7082EE351}"/>
              </a:ext>
            </a:extLst>
          </p:cNvPr>
          <p:cNvPicPr>
            <a:picLocks noChangeAspect="1"/>
          </p:cNvPicPr>
          <p:nvPr userDrawn="1"/>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048337" y="4824263"/>
            <a:ext cx="2148511" cy="1188000"/>
          </a:xfrm>
          <a:prstGeom prst="rect">
            <a:avLst/>
          </a:prstGeom>
        </p:spPr>
      </p:pic>
      <p:sp>
        <p:nvSpPr>
          <p:cNvPr id="2" name="Titel 1">
            <a:extLst>
              <a:ext uri="{FF2B5EF4-FFF2-40B4-BE49-F238E27FC236}">
                <a16:creationId xmlns:a16="http://schemas.microsoft.com/office/drawing/2014/main" id="{56076F01-17EC-4724-B8CD-18FD44ECA277}"/>
              </a:ext>
            </a:extLst>
          </p:cNvPr>
          <p:cNvSpPr>
            <a:spLocks noGrp="1"/>
          </p:cNvSpPr>
          <p:nvPr>
            <p:ph type="title" hasCustomPrompt="1"/>
          </p:nvPr>
        </p:nvSpPr>
        <p:spPr>
          <a:xfrm>
            <a:off x="6840538" y="2296282"/>
            <a:ext cx="4140200" cy="403745"/>
          </a:xfrm>
        </p:spPr>
        <p:txBody>
          <a:bodyPr wrap="square" anchor="b">
            <a:spAutoFit/>
          </a:bodyPr>
          <a:lstStyle>
            <a:lvl1pPr>
              <a:lnSpc>
                <a:spcPct val="100000"/>
              </a:lnSpc>
              <a:defRPr sz="2600">
                <a:solidFill>
                  <a:schemeClr val="accent3"/>
                </a:solidFill>
              </a:defRPr>
            </a:lvl1pPr>
          </a:lstStyle>
          <a:p>
            <a:r>
              <a:rPr lang="en-US" dirty="0"/>
              <a:t>Insert Presentation Title</a:t>
            </a:r>
          </a:p>
        </p:txBody>
      </p:sp>
      <p:sp>
        <p:nvSpPr>
          <p:cNvPr id="4" name="Bildplatzhalter 3">
            <a:extLst>
              <a:ext uri="{FF2B5EF4-FFF2-40B4-BE49-F238E27FC236}">
                <a16:creationId xmlns:a16="http://schemas.microsoft.com/office/drawing/2014/main" id="{760414FB-02DF-445C-8438-D6E81B5F1690}"/>
              </a:ext>
            </a:extLst>
          </p:cNvPr>
          <p:cNvSpPr>
            <a:spLocks noGrp="1"/>
          </p:cNvSpPr>
          <p:nvPr>
            <p:ph type="pic" sz="quarter" idx="13" hasCustomPrompt="1"/>
          </p:nvPr>
        </p:nvSpPr>
        <p:spPr>
          <a:xfrm>
            <a:off x="0" y="0"/>
            <a:ext cx="6480175" cy="6480175"/>
          </a:xfrm>
        </p:spPr>
        <p:txBody>
          <a:bodyPr anchor="ctr"/>
          <a:lstStyle>
            <a:lvl1pPr marL="0" indent="0" algn="ctr">
              <a:buNone/>
              <a:defRPr>
                <a:solidFill>
                  <a:schemeClr val="accent6"/>
                </a:solidFill>
              </a:defRPr>
            </a:lvl1pPr>
          </a:lstStyle>
          <a:p>
            <a:r>
              <a:rPr lang="en-US"/>
              <a:t>Insert picture</a:t>
            </a:r>
            <a:endParaRPr lang="en-US" dirty="0"/>
          </a:p>
        </p:txBody>
      </p:sp>
      <p:sp>
        <p:nvSpPr>
          <p:cNvPr id="10" name="Fußzeilenplatzhalter 3">
            <a:extLst>
              <a:ext uri="{FF2B5EF4-FFF2-40B4-BE49-F238E27FC236}">
                <a16:creationId xmlns:a16="http://schemas.microsoft.com/office/drawing/2014/main" id="{80DD142A-4252-487F-A3DD-82A7F3A7AD2F}"/>
              </a:ext>
            </a:extLst>
          </p:cNvPr>
          <p:cNvSpPr>
            <a:spLocks noGrp="1"/>
          </p:cNvSpPr>
          <p:nvPr>
            <p:ph type="ftr" sz="quarter" idx="3"/>
          </p:nvPr>
        </p:nvSpPr>
        <p:spPr bwMode="gray">
          <a:xfrm>
            <a:off x="647676" y="6516432"/>
            <a:ext cx="288000" cy="36000"/>
          </a:xfrm>
          <a:prstGeom prst="rect">
            <a:avLst/>
          </a:prstGeom>
        </p:spPr>
        <p:txBody>
          <a:bodyPr vert="horz" lIns="0" tIns="0" rIns="0" bIns="0" rtlCol="0" anchor="ctr"/>
          <a:lstStyle>
            <a:lvl1pPr algn="l">
              <a:defRPr sz="100">
                <a:solidFill>
                  <a:srgbClr val="E6E6E6"/>
                </a:solidFill>
              </a:defRPr>
            </a:lvl1pPr>
          </a:lstStyle>
          <a:p>
            <a:r>
              <a:rPr lang="en-US"/>
              <a:t>IAV  MM/JJJJ  Abteilungskürzel  Namenskürzel  Status: Entwurf, vertraulich</a:t>
            </a:r>
            <a:endParaRPr lang="en-US" dirty="0"/>
          </a:p>
        </p:txBody>
      </p:sp>
      <p:sp>
        <p:nvSpPr>
          <p:cNvPr id="11" name="Foliennummernplatzhalter 4">
            <a:extLst>
              <a:ext uri="{FF2B5EF4-FFF2-40B4-BE49-F238E27FC236}">
                <a16:creationId xmlns:a16="http://schemas.microsoft.com/office/drawing/2014/main" id="{F17809BC-128B-4C78-873A-1EA2DD3BA709}"/>
              </a:ext>
            </a:extLst>
          </p:cNvPr>
          <p:cNvSpPr>
            <a:spLocks noGrp="1"/>
          </p:cNvSpPr>
          <p:nvPr>
            <p:ph type="sldNum" sz="quarter" idx="4"/>
          </p:nvPr>
        </p:nvSpPr>
        <p:spPr bwMode="gray">
          <a:xfrm>
            <a:off x="539664" y="6516455"/>
            <a:ext cx="72008" cy="36000"/>
          </a:xfrm>
          <a:prstGeom prst="rect">
            <a:avLst/>
          </a:prstGeom>
        </p:spPr>
        <p:txBody>
          <a:bodyPr vert="horz" lIns="0" tIns="0" rIns="0" bIns="0" rtlCol="0" anchor="ctr"/>
          <a:lstStyle>
            <a:lvl1pPr algn="l">
              <a:defRPr sz="100">
                <a:solidFill>
                  <a:srgbClr val="E6E6E6"/>
                </a:solidFill>
              </a:defRPr>
            </a:lvl1pPr>
          </a:lstStyle>
          <a:p>
            <a:fld id="{C651C7C4-31E4-E340-822E-DEA0EA75A835}" type="slidenum">
              <a:rPr lang="en-US" smtClean="0"/>
              <a:pPr/>
              <a:t>‹#›</a:t>
            </a:fld>
            <a:endParaRPr lang="en-US" dirty="0"/>
          </a:p>
        </p:txBody>
      </p:sp>
      <p:sp>
        <p:nvSpPr>
          <p:cNvPr id="12" name="Textplatzhalter 8">
            <a:extLst>
              <a:ext uri="{FF2B5EF4-FFF2-40B4-BE49-F238E27FC236}">
                <a16:creationId xmlns:a16="http://schemas.microsoft.com/office/drawing/2014/main" id="{C044AB96-AD92-43A5-8A53-41AB5D56E6FD}"/>
              </a:ext>
            </a:extLst>
          </p:cNvPr>
          <p:cNvSpPr>
            <a:spLocks noGrp="1"/>
          </p:cNvSpPr>
          <p:nvPr>
            <p:ph type="body" sz="quarter" idx="12" hasCustomPrompt="1"/>
          </p:nvPr>
        </p:nvSpPr>
        <p:spPr bwMode="gray">
          <a:xfrm>
            <a:off x="6840538" y="2880047"/>
            <a:ext cx="3960812" cy="493277"/>
          </a:xfrm>
        </p:spPr>
        <p:txBody>
          <a:bodyPr wrap="square">
            <a:spAutoFit/>
          </a:bodyPr>
          <a:lstStyle>
            <a:lvl1pPr marL="0" indent="0">
              <a:lnSpc>
                <a:spcPct val="120000"/>
              </a:lnSpc>
              <a:spcBef>
                <a:spcPts val="0"/>
              </a:spcBef>
              <a:spcAft>
                <a:spcPts val="0"/>
              </a:spcAft>
              <a:buNone/>
              <a:defRPr sz="1400">
                <a:solidFill>
                  <a:srgbClr val="1446EB"/>
                </a:solidFill>
              </a:defRPr>
            </a:lvl1pPr>
            <a:lvl2pPr marL="180000" indent="0">
              <a:buNone/>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r>
              <a:rPr lang="en-US"/>
              <a:t>Subtitle</a:t>
            </a:r>
          </a:p>
          <a:p>
            <a:r>
              <a:rPr lang="en-US"/>
              <a:t>Name </a:t>
            </a:r>
            <a:r>
              <a:rPr lang="en-US" dirty="0"/>
              <a:t>Surname, Month YYYY</a:t>
            </a:r>
          </a:p>
        </p:txBody>
      </p:sp>
    </p:spTree>
    <p:extLst>
      <p:ext uri="{BB962C8B-B14F-4D97-AF65-F5344CB8AC3E}">
        <p14:creationId xmlns:p14="http://schemas.microsoft.com/office/powerpoint/2010/main" val="2134883428"/>
      </p:ext>
    </p:extLst>
  </p:cSld>
  <p:clrMapOvr>
    <a:masterClrMapping/>
  </p:clrMapOvr>
  <p:extLst>
    <p:ext uri="{DCECCB84-F9BA-43D5-87BE-67443E8EF086}">
      <p15:sldGuideLst xmlns:p15="http://schemas.microsoft.com/office/powerpoint/2012/main">
        <p15:guide id="2" orient="horz" pos="1814">
          <p15:clr>
            <a:srgbClr val="FBAE40"/>
          </p15:clr>
        </p15:guide>
        <p15:guide id="4" orient="horz" pos="1701">
          <p15:clr>
            <a:srgbClr val="FBAE40"/>
          </p15:clr>
        </p15:guide>
        <p15:guide id="5" pos="4082">
          <p15:clr>
            <a:srgbClr val="FBAE40"/>
          </p15:clr>
        </p15:guide>
        <p15:guide id="6" pos="4309">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539750" y="359767"/>
            <a:ext cx="10440988" cy="361875"/>
          </a:xfrm>
        </p:spPr>
        <p:txBody>
          <a:bodyPr vert="horz" wrap="square" lIns="0" tIns="3600" rIns="0" bIns="0" rtlCol="0" anchor="t" anchorCtr="0">
            <a:spAutoFit/>
          </a:bodyPr>
          <a:lstStyle>
            <a:lvl1pPr>
              <a:defRPr lang="de-DE" dirty="0"/>
            </a:lvl1pPr>
          </a:lstStyle>
          <a:p>
            <a:pPr lvl="0"/>
            <a:r>
              <a:rPr lang="en-US"/>
              <a:t>Insert Heading (two lines max)</a:t>
            </a:r>
            <a:endParaRPr lang="en-US" dirty="0"/>
          </a:p>
        </p:txBody>
      </p:sp>
      <p:sp>
        <p:nvSpPr>
          <p:cNvPr id="3" name="Fußzeilenplatzhalter 2"/>
          <p:cNvSpPr>
            <a:spLocks noGrp="1"/>
          </p:cNvSpPr>
          <p:nvPr>
            <p:ph type="ftr" sz="quarter" idx="10"/>
          </p:nvPr>
        </p:nvSpPr>
        <p:spPr bwMode="gray"/>
        <p:txBody>
          <a:bodyPr/>
          <a:lstStyle/>
          <a:p>
            <a:r>
              <a:rPr lang="en-US"/>
              <a:t>IAV  MM/YYYY  Department Code  Initials  Status: draft, confidential</a:t>
            </a:r>
            <a:endParaRPr lang="en-US" dirty="0"/>
          </a:p>
        </p:txBody>
      </p:sp>
      <p:sp>
        <p:nvSpPr>
          <p:cNvPr id="4" name="Foliennummernplatzhalter 3"/>
          <p:cNvSpPr>
            <a:spLocks noGrp="1"/>
          </p:cNvSpPr>
          <p:nvPr>
            <p:ph type="sldNum" sz="quarter" idx="11"/>
          </p:nvPr>
        </p:nvSpPr>
        <p:spPr bwMode="gray"/>
        <p:txBody>
          <a:bodyPr/>
          <a:lstStyle/>
          <a:p>
            <a:fld id="{DD6C52D8-AF7F-4297-9A35-2617B7FF1801}" type="slidenum">
              <a:rPr lang="en-US" smtClean="0"/>
              <a:pPr/>
              <a:t>‹#›</a:t>
            </a:fld>
            <a:endParaRPr lang="en-US" dirty="0"/>
          </a:p>
        </p:txBody>
      </p:sp>
    </p:spTree>
    <p:extLst>
      <p:ext uri="{BB962C8B-B14F-4D97-AF65-F5344CB8AC3E}">
        <p14:creationId xmlns:p14="http://schemas.microsoft.com/office/powerpoint/2010/main" val="1065716413"/>
      </p:ext>
    </p:extLst>
  </p:cSld>
  <p:clrMapOvr>
    <a:masterClrMapping/>
  </p:clrMapOvr>
  <p:extLst>
    <p:ext uri="{DCECCB84-F9BA-43D5-87BE-67443E8EF086}">
      <p15:sldGuideLst xmlns:p15="http://schemas.microsoft.com/office/powerpoint/2012/main">
        <p15:guide id="7" pos="3742" userDrawn="1">
          <p15:clr>
            <a:srgbClr val="FBAE40"/>
          </p15:clr>
        </p15:guide>
        <p15:guide id="8" pos="3515" userDrawn="1">
          <p15:clr>
            <a:srgbClr val="FBAE40"/>
          </p15:clr>
        </p15:guide>
        <p15:guide id="9" pos="2608" userDrawn="1">
          <p15:clr>
            <a:srgbClr val="FBAE40"/>
          </p15:clr>
        </p15:guide>
        <p15:guide id="10" pos="2381" userDrawn="1">
          <p15:clr>
            <a:srgbClr val="FBAE40"/>
          </p15:clr>
        </p15:guide>
        <p15:guide id="11" pos="4876" userDrawn="1">
          <p15:clr>
            <a:srgbClr val="FBAE40"/>
          </p15:clr>
        </p15:guide>
        <p15:guide id="12" pos="4649"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ntent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C64DD43-E910-4880-834F-73E0C54B079A}"/>
              </a:ext>
            </a:extLst>
          </p:cNvPr>
          <p:cNvSpPr>
            <a:spLocks noGrp="1"/>
          </p:cNvSpPr>
          <p:nvPr>
            <p:ph type="title" hasCustomPrompt="1"/>
          </p:nvPr>
        </p:nvSpPr>
        <p:spPr/>
        <p:txBody>
          <a:bodyPr/>
          <a:lstStyle/>
          <a:p>
            <a:r>
              <a:rPr lang="en-US" dirty="0"/>
              <a:t>Insert Heading (two lines max)</a:t>
            </a:r>
            <a:endParaRPr lang="de-DE" dirty="0"/>
          </a:p>
        </p:txBody>
      </p:sp>
      <p:sp>
        <p:nvSpPr>
          <p:cNvPr id="6" name="Inhaltsplatzhalter 5">
            <a:extLst>
              <a:ext uri="{FF2B5EF4-FFF2-40B4-BE49-F238E27FC236}">
                <a16:creationId xmlns:a16="http://schemas.microsoft.com/office/drawing/2014/main" id="{B421926F-2EB1-C877-20AA-E5F4D23571FD}"/>
              </a:ext>
            </a:extLst>
          </p:cNvPr>
          <p:cNvSpPr>
            <a:spLocks noGrp="1"/>
          </p:cNvSpPr>
          <p:nvPr>
            <p:ph sz="quarter" idx="12" hasCustomPrompt="1"/>
          </p:nvPr>
        </p:nvSpPr>
        <p:spPr>
          <a:xfrm>
            <a:off x="539750" y="1295401"/>
            <a:ext cx="5040886" cy="4537074"/>
          </a:xfrm>
        </p:spPr>
        <p:txBody>
          <a:bodyPr/>
          <a:lstStyle>
            <a:lvl1pPr>
              <a:defRPr/>
            </a:lvl1pPr>
            <a:lvl2pPr>
              <a:defRPr/>
            </a:lvl2pPr>
            <a:lvl3pPr>
              <a:defRPr/>
            </a:lvl3pPr>
            <a:lvl4pPr>
              <a:defRPr/>
            </a:lvl4pPr>
            <a:lvl5pPr>
              <a:defRPr/>
            </a:lvl5pPr>
          </a:lstStyle>
          <a:p>
            <a:pPr lvl="0"/>
            <a:r>
              <a:rPr lang="en-US"/>
              <a:t>First level</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Inhaltsplatzhalter 7">
            <a:extLst>
              <a:ext uri="{FF2B5EF4-FFF2-40B4-BE49-F238E27FC236}">
                <a16:creationId xmlns:a16="http://schemas.microsoft.com/office/drawing/2014/main" id="{0FDBB940-6E97-8B7D-AF9F-663504423369}"/>
              </a:ext>
            </a:extLst>
          </p:cNvPr>
          <p:cNvSpPr>
            <a:spLocks noGrp="1"/>
          </p:cNvSpPr>
          <p:nvPr>
            <p:ph sz="quarter" idx="13" hasCustomPrompt="1"/>
          </p:nvPr>
        </p:nvSpPr>
        <p:spPr>
          <a:xfrm>
            <a:off x="5940424" y="1295400"/>
            <a:ext cx="5040313" cy="4537075"/>
          </a:xfrm>
        </p:spPr>
        <p:txBody>
          <a:bodyPr/>
          <a:lstStyle/>
          <a:p>
            <a:pPr lvl="0"/>
            <a:r>
              <a:rPr lang="en-US"/>
              <a:t>First level</a:t>
            </a:r>
          </a:p>
          <a:p>
            <a:pPr lvl="1"/>
            <a:r>
              <a:rPr lang="en-US"/>
              <a:t>Second </a:t>
            </a:r>
            <a:r>
              <a:rPr lang="en-US" dirty="0"/>
              <a:t>level</a:t>
            </a:r>
          </a:p>
          <a:p>
            <a:pPr lvl="2"/>
            <a:r>
              <a:rPr lang="en-US" dirty="0"/>
              <a:t>Third level</a:t>
            </a:r>
          </a:p>
          <a:p>
            <a:pPr lvl="3"/>
            <a:r>
              <a:rPr lang="en-US" dirty="0"/>
              <a:t>Fourth level</a:t>
            </a:r>
          </a:p>
          <a:p>
            <a:pPr lvl="4"/>
            <a:r>
              <a:rPr lang="en-US" dirty="0"/>
              <a:t>Fifth level</a:t>
            </a:r>
          </a:p>
        </p:txBody>
      </p:sp>
      <p:sp>
        <p:nvSpPr>
          <p:cNvPr id="9" name="Fußzeilenplatzhalter 3">
            <a:extLst>
              <a:ext uri="{FF2B5EF4-FFF2-40B4-BE49-F238E27FC236}">
                <a16:creationId xmlns:a16="http://schemas.microsoft.com/office/drawing/2014/main" id="{8B86E73B-F9A7-5386-74EA-107A4535E9BF}"/>
              </a:ext>
            </a:extLst>
          </p:cNvPr>
          <p:cNvSpPr>
            <a:spLocks noGrp="1"/>
          </p:cNvSpPr>
          <p:nvPr>
            <p:ph type="ftr" sz="quarter" idx="3"/>
          </p:nvPr>
        </p:nvSpPr>
        <p:spPr bwMode="gray">
          <a:xfrm>
            <a:off x="972123" y="6048375"/>
            <a:ext cx="4608513" cy="179364"/>
          </a:xfrm>
          <a:prstGeom prst="rect">
            <a:avLst/>
          </a:prstGeom>
        </p:spPr>
        <p:txBody>
          <a:bodyPr vert="horz" wrap="none" lIns="0" tIns="0" rIns="0" bIns="0" rtlCol="0" anchor="ctr"/>
          <a:lstStyle>
            <a:lvl1pPr algn="l">
              <a:defRPr sz="700">
                <a:solidFill>
                  <a:schemeClr val="tx1"/>
                </a:solidFill>
              </a:defRPr>
            </a:lvl1pPr>
          </a:lstStyle>
          <a:p>
            <a:r>
              <a:rPr lang="en-US"/>
              <a:t>IAV  MM/YYYY  Department Code  Initials  Status: draft, confidential</a:t>
            </a:r>
            <a:endParaRPr lang="en-US" dirty="0"/>
          </a:p>
        </p:txBody>
      </p:sp>
      <p:sp>
        <p:nvSpPr>
          <p:cNvPr id="10" name="Foliennummernplatzhalter 4">
            <a:extLst>
              <a:ext uri="{FF2B5EF4-FFF2-40B4-BE49-F238E27FC236}">
                <a16:creationId xmlns:a16="http://schemas.microsoft.com/office/drawing/2014/main" id="{498794BA-817E-B478-097E-6C68EE007B00}"/>
              </a:ext>
            </a:extLst>
          </p:cNvPr>
          <p:cNvSpPr>
            <a:spLocks noGrp="1"/>
          </p:cNvSpPr>
          <p:nvPr>
            <p:ph type="sldNum" sz="quarter" idx="4"/>
          </p:nvPr>
        </p:nvSpPr>
        <p:spPr bwMode="gray">
          <a:xfrm>
            <a:off x="539664" y="6048399"/>
            <a:ext cx="360000" cy="179364"/>
          </a:xfrm>
          <a:prstGeom prst="rect">
            <a:avLst/>
          </a:prstGeom>
        </p:spPr>
        <p:txBody>
          <a:bodyPr vert="horz" wrap="none" lIns="0" tIns="0" rIns="0" bIns="0" rtlCol="0" anchor="ctr"/>
          <a:lstStyle>
            <a:lvl1pPr algn="l">
              <a:defRPr sz="700">
                <a:solidFill>
                  <a:schemeClr val="tx1"/>
                </a:solidFill>
              </a:defRPr>
            </a:lvl1pPr>
          </a:lstStyle>
          <a:p>
            <a:fld id="{C651C7C4-31E4-E340-822E-DEA0EA75A835}" type="slidenum">
              <a:rPr lang="en-US" smtClean="0"/>
              <a:pPr/>
              <a:t>‹#›</a:t>
            </a:fld>
            <a:endParaRPr lang="en-US" dirty="0"/>
          </a:p>
        </p:txBody>
      </p:sp>
    </p:spTree>
    <p:extLst>
      <p:ext uri="{BB962C8B-B14F-4D97-AF65-F5344CB8AC3E}">
        <p14:creationId xmlns:p14="http://schemas.microsoft.com/office/powerpoint/2010/main" val="2908424033"/>
      </p:ext>
    </p:extLst>
  </p:cSld>
  <p:clrMapOvr>
    <a:masterClrMapping/>
  </p:clrMapOvr>
  <p:extLst>
    <p:ext uri="{DCECCB84-F9BA-43D5-87BE-67443E8EF086}">
      <p15:sldGuideLst xmlns:p15="http://schemas.microsoft.com/office/powerpoint/2012/main">
        <p15:guide id="1" pos="3515">
          <p15:clr>
            <a:srgbClr val="FBAE40"/>
          </p15:clr>
        </p15:guide>
        <p15:guide id="2" pos="3742">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One Column">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0D82473-2EB6-4C66-A028-07FE06313204}"/>
              </a:ext>
            </a:extLst>
          </p:cNvPr>
          <p:cNvSpPr>
            <a:spLocks noGrp="1"/>
          </p:cNvSpPr>
          <p:nvPr>
            <p:ph type="title" hasCustomPrompt="1"/>
          </p:nvPr>
        </p:nvSpPr>
        <p:spPr>
          <a:xfrm>
            <a:off x="539664" y="359767"/>
            <a:ext cx="10441074" cy="362708"/>
          </a:xfrm>
        </p:spPr>
        <p:txBody>
          <a:bodyPr/>
          <a:lstStyle>
            <a:lvl1pPr>
              <a:defRPr/>
            </a:lvl1pPr>
          </a:lstStyle>
          <a:p>
            <a:r>
              <a:rPr lang="en-US" dirty="0"/>
              <a:t>Insert Heading (two lines max)</a:t>
            </a:r>
          </a:p>
        </p:txBody>
      </p:sp>
      <p:sp>
        <p:nvSpPr>
          <p:cNvPr id="3" name="Fußzeilenplatzhalter 2">
            <a:extLst>
              <a:ext uri="{FF2B5EF4-FFF2-40B4-BE49-F238E27FC236}">
                <a16:creationId xmlns:a16="http://schemas.microsoft.com/office/drawing/2014/main" id="{87EBDFBA-5C9C-4F2E-AD48-7F5032FDCB08}"/>
              </a:ext>
            </a:extLst>
          </p:cNvPr>
          <p:cNvSpPr>
            <a:spLocks noGrp="1"/>
          </p:cNvSpPr>
          <p:nvPr>
            <p:ph type="ftr" sz="quarter" idx="10"/>
          </p:nvPr>
        </p:nvSpPr>
        <p:spPr bwMode="gray"/>
        <p:txBody>
          <a:bodyPr/>
          <a:lstStyle>
            <a:lvl1pPr algn="l">
              <a:defRPr sz="700"/>
            </a:lvl1pPr>
          </a:lstStyle>
          <a:p>
            <a:r>
              <a:rPr lang="en-US"/>
              <a:t>IAV  MM/YYYY  Department Code  Initials  Status: draft, confidential</a:t>
            </a:r>
            <a:endParaRPr lang="en-US" dirty="0"/>
          </a:p>
        </p:txBody>
      </p:sp>
      <p:sp>
        <p:nvSpPr>
          <p:cNvPr id="4" name="Foliennummernplatzhalter 3">
            <a:extLst>
              <a:ext uri="{FF2B5EF4-FFF2-40B4-BE49-F238E27FC236}">
                <a16:creationId xmlns:a16="http://schemas.microsoft.com/office/drawing/2014/main" id="{D9C1E099-4B35-4DA1-B9D7-3E7E137462AF}"/>
              </a:ext>
            </a:extLst>
          </p:cNvPr>
          <p:cNvSpPr>
            <a:spLocks noGrp="1"/>
          </p:cNvSpPr>
          <p:nvPr>
            <p:ph type="sldNum" sz="quarter" idx="11"/>
          </p:nvPr>
        </p:nvSpPr>
        <p:spPr bwMode="gray"/>
        <p:txBody>
          <a:bodyPr/>
          <a:lstStyle>
            <a:lvl1pPr algn="l">
              <a:defRPr sz="700"/>
            </a:lvl1pPr>
          </a:lstStyle>
          <a:p>
            <a:fld id="{C651C7C4-31E4-E340-822E-DEA0EA75A835}" type="slidenum">
              <a:rPr lang="en-US" smtClean="0"/>
              <a:pPr/>
              <a:t>‹#›</a:t>
            </a:fld>
            <a:endParaRPr lang="en-US" dirty="0"/>
          </a:p>
        </p:txBody>
      </p:sp>
      <p:sp>
        <p:nvSpPr>
          <p:cNvPr id="14" name="Textplatzhalter 13">
            <a:extLst>
              <a:ext uri="{FF2B5EF4-FFF2-40B4-BE49-F238E27FC236}">
                <a16:creationId xmlns:a16="http://schemas.microsoft.com/office/drawing/2014/main" id="{A5E029D1-874B-411C-9322-9E92EED7AB07}"/>
              </a:ext>
            </a:extLst>
          </p:cNvPr>
          <p:cNvSpPr>
            <a:spLocks noGrp="1"/>
          </p:cNvSpPr>
          <p:nvPr>
            <p:ph type="body" sz="quarter" idx="12" hasCustomPrompt="1"/>
          </p:nvPr>
        </p:nvSpPr>
        <p:spPr>
          <a:xfrm>
            <a:off x="539750" y="1295400"/>
            <a:ext cx="8280400" cy="1860509"/>
          </a:xfrm>
        </p:spPr>
        <p:txBody>
          <a:bodyPr>
            <a:spAutoFit/>
          </a:bodyPr>
          <a:lstStyle>
            <a:lvl1pPr>
              <a:lnSpc>
                <a:spcPct val="120000"/>
              </a:lnSpc>
              <a:buClrTx/>
              <a:defRPr/>
            </a:lvl1pPr>
            <a:lvl2pPr>
              <a:lnSpc>
                <a:spcPct val="120000"/>
              </a:lnSpc>
              <a:buClrTx/>
              <a:defRPr/>
            </a:lvl2pPr>
            <a:lvl3pPr>
              <a:lnSpc>
                <a:spcPct val="120000"/>
              </a:lnSpc>
              <a:buClrTx/>
              <a:defRPr/>
            </a:lvl3pPr>
            <a:lvl4pPr>
              <a:lnSpc>
                <a:spcPct val="120000"/>
              </a:lnSpc>
              <a:buClrTx/>
              <a:defRPr/>
            </a:lvl4pPr>
            <a:lvl5pPr>
              <a:lnSpc>
                <a:spcPct val="120000"/>
              </a:lnSpc>
              <a:buClrTx/>
              <a:defRPr/>
            </a:lvl5pPr>
          </a:lstStyle>
          <a:p>
            <a:pPr lvl="0"/>
            <a:r>
              <a:rPr lang="en-US"/>
              <a:t>First level</a:t>
            </a:r>
          </a:p>
          <a:p>
            <a:pPr lvl="1"/>
            <a:r>
              <a:rPr lang="en-US"/>
              <a:t>Second </a:t>
            </a:r>
            <a:r>
              <a:rPr lang="en-US" dirty="0"/>
              <a:t>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47530008"/>
      </p:ext>
    </p:extLst>
  </p:cSld>
  <p:clrMapOvr>
    <a:masterClrMapping/>
  </p:clrMapOvr>
  <p:extLst>
    <p:ext uri="{DCECCB84-F9BA-43D5-87BE-67443E8EF086}">
      <p15:sldGuideLst xmlns:p15="http://schemas.microsoft.com/office/powerpoint/2012/main">
        <p15:guide id="1" pos="5783" userDrawn="1">
          <p15:clr>
            <a:srgbClr val="FBAE40"/>
          </p15:clr>
        </p15:guide>
        <p15:guide id="2" pos="5556"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C64DD43-E910-4880-834F-73E0C54B079A}"/>
              </a:ext>
            </a:extLst>
          </p:cNvPr>
          <p:cNvSpPr>
            <a:spLocks noGrp="1"/>
          </p:cNvSpPr>
          <p:nvPr>
            <p:ph type="title" hasCustomPrompt="1"/>
          </p:nvPr>
        </p:nvSpPr>
        <p:spPr/>
        <p:txBody>
          <a:bodyPr/>
          <a:lstStyle/>
          <a:p>
            <a:r>
              <a:rPr lang="en-US"/>
              <a:t>Insert Heading (two lines max)</a:t>
            </a:r>
            <a:endParaRPr lang="en-US" dirty="0"/>
          </a:p>
        </p:txBody>
      </p:sp>
      <p:sp>
        <p:nvSpPr>
          <p:cNvPr id="3" name="Fußzeilenplatzhalter 2">
            <a:extLst>
              <a:ext uri="{FF2B5EF4-FFF2-40B4-BE49-F238E27FC236}">
                <a16:creationId xmlns:a16="http://schemas.microsoft.com/office/drawing/2014/main" id="{D8DD20B1-22D9-42BB-8120-96895CF3646B}"/>
              </a:ext>
            </a:extLst>
          </p:cNvPr>
          <p:cNvSpPr>
            <a:spLocks noGrp="1"/>
          </p:cNvSpPr>
          <p:nvPr>
            <p:ph type="ftr" sz="quarter" idx="10"/>
          </p:nvPr>
        </p:nvSpPr>
        <p:spPr bwMode="gray"/>
        <p:txBody>
          <a:bodyPr/>
          <a:lstStyle>
            <a:lvl1pPr algn="l">
              <a:defRPr sz="700"/>
            </a:lvl1pPr>
          </a:lstStyle>
          <a:p>
            <a:r>
              <a:rPr lang="en-US"/>
              <a:t>IAV  MM/YYYY  Department Code  Initials  Status: draft, confidential</a:t>
            </a:r>
            <a:endParaRPr lang="en-US" dirty="0"/>
          </a:p>
        </p:txBody>
      </p:sp>
      <p:sp>
        <p:nvSpPr>
          <p:cNvPr id="4" name="Foliennummernplatzhalter 3">
            <a:extLst>
              <a:ext uri="{FF2B5EF4-FFF2-40B4-BE49-F238E27FC236}">
                <a16:creationId xmlns:a16="http://schemas.microsoft.com/office/drawing/2014/main" id="{3CC135E0-6174-4B68-8FAF-2CD7F3705E25}"/>
              </a:ext>
            </a:extLst>
          </p:cNvPr>
          <p:cNvSpPr>
            <a:spLocks noGrp="1"/>
          </p:cNvSpPr>
          <p:nvPr>
            <p:ph type="sldNum" sz="quarter" idx="11"/>
          </p:nvPr>
        </p:nvSpPr>
        <p:spPr bwMode="gray"/>
        <p:txBody>
          <a:bodyPr/>
          <a:lstStyle>
            <a:lvl1pPr algn="l">
              <a:defRPr sz="700"/>
            </a:lvl1pPr>
          </a:lstStyle>
          <a:p>
            <a:fld id="{C651C7C4-31E4-E340-822E-DEA0EA75A835}" type="slidenum">
              <a:rPr lang="en-US" smtClean="0"/>
              <a:pPr/>
              <a:t>‹#›</a:t>
            </a:fld>
            <a:endParaRPr lang="en-US" dirty="0"/>
          </a:p>
        </p:txBody>
      </p:sp>
      <p:sp>
        <p:nvSpPr>
          <p:cNvPr id="11" name="Textplatzhalter 10">
            <a:extLst>
              <a:ext uri="{FF2B5EF4-FFF2-40B4-BE49-F238E27FC236}">
                <a16:creationId xmlns:a16="http://schemas.microsoft.com/office/drawing/2014/main" id="{5B24D9A6-0E7F-471A-BD30-D9B90EF27E5E}"/>
              </a:ext>
            </a:extLst>
          </p:cNvPr>
          <p:cNvSpPr>
            <a:spLocks noGrp="1"/>
          </p:cNvSpPr>
          <p:nvPr>
            <p:ph type="body" sz="quarter" idx="12" hasCustomPrompt="1"/>
          </p:nvPr>
        </p:nvSpPr>
        <p:spPr>
          <a:xfrm>
            <a:off x="539750" y="1295400"/>
            <a:ext cx="5040313" cy="1860509"/>
          </a:xfrm>
        </p:spPr>
        <p:txBody>
          <a:bodyPr>
            <a:spAutoFit/>
          </a:bodyPr>
          <a:lstStyle>
            <a:lvl1pPr>
              <a:lnSpc>
                <a:spcPct val="120000"/>
              </a:lnSpc>
              <a:defRPr/>
            </a:lvl1pPr>
            <a:lvl2pPr>
              <a:lnSpc>
                <a:spcPct val="120000"/>
              </a:lnSpc>
              <a:buClrTx/>
              <a:defRPr/>
            </a:lvl2pPr>
            <a:lvl3pPr>
              <a:lnSpc>
                <a:spcPct val="120000"/>
              </a:lnSpc>
              <a:defRPr/>
            </a:lvl3pPr>
            <a:lvl4pPr>
              <a:lnSpc>
                <a:spcPct val="120000"/>
              </a:lnSpc>
              <a:defRPr/>
            </a:lvl4pPr>
            <a:lvl5pPr>
              <a:lnSpc>
                <a:spcPct val="120000"/>
              </a:lnSpc>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platzhalter 12">
            <a:extLst>
              <a:ext uri="{FF2B5EF4-FFF2-40B4-BE49-F238E27FC236}">
                <a16:creationId xmlns:a16="http://schemas.microsoft.com/office/drawing/2014/main" id="{63F85D02-DB8C-41B1-88A9-2471D83B5C35}"/>
              </a:ext>
            </a:extLst>
          </p:cNvPr>
          <p:cNvSpPr>
            <a:spLocks noGrp="1"/>
          </p:cNvSpPr>
          <p:nvPr>
            <p:ph type="body" sz="quarter" idx="13" hasCustomPrompt="1"/>
          </p:nvPr>
        </p:nvSpPr>
        <p:spPr>
          <a:xfrm>
            <a:off x="5940425" y="1295400"/>
            <a:ext cx="5040313" cy="1860509"/>
          </a:xfrm>
        </p:spPr>
        <p:txBody>
          <a:bodyPr>
            <a:spAutoFit/>
          </a:bodyPr>
          <a:lstStyle>
            <a:lvl1pPr>
              <a:lnSpc>
                <a:spcPct val="120000"/>
              </a:lnSpc>
              <a:buClrTx/>
              <a:defRPr/>
            </a:lvl1pPr>
            <a:lvl2pPr>
              <a:lnSpc>
                <a:spcPct val="120000"/>
              </a:lnSpc>
              <a:buClrTx/>
              <a:defRPr/>
            </a:lvl2pPr>
            <a:lvl3pPr>
              <a:lnSpc>
                <a:spcPct val="120000"/>
              </a:lnSpc>
              <a:buClrTx/>
              <a:defRPr/>
            </a:lvl3pPr>
            <a:lvl4pPr>
              <a:lnSpc>
                <a:spcPct val="120000"/>
              </a:lnSpc>
              <a:buClrTx/>
              <a:defRPr/>
            </a:lvl4pPr>
            <a:lvl5pPr>
              <a:lnSpc>
                <a:spcPct val="120000"/>
              </a:lnSpc>
              <a:buClrTx/>
              <a:defRPr/>
            </a:lvl5pPr>
          </a:lstStyle>
          <a:p>
            <a:pPr lvl="0"/>
            <a:r>
              <a:rPr lang="en-US"/>
              <a:t>First level</a:t>
            </a:r>
          </a:p>
          <a:p>
            <a:pPr lvl="1"/>
            <a:r>
              <a:rPr lang="en-US"/>
              <a:t>Second </a:t>
            </a:r>
            <a:r>
              <a:rPr lang="en-US" dirty="0"/>
              <a:t>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43287095"/>
      </p:ext>
    </p:extLst>
  </p:cSld>
  <p:clrMapOvr>
    <a:masterClrMapping/>
  </p:clrMapOvr>
  <p:extLst>
    <p:ext uri="{DCECCB84-F9BA-43D5-87BE-67443E8EF086}">
      <p15:sldGuideLst xmlns:p15="http://schemas.microsoft.com/office/powerpoint/2012/main">
        <p15:guide id="1" pos="3515" userDrawn="1">
          <p15:clr>
            <a:srgbClr val="FBAE40"/>
          </p15:clr>
        </p15:guide>
        <p15:guide id="2" pos="3742"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3.sv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14"/>
            </p:custDataLst>
            <p:extLst>
              <p:ext uri="{D42A27DB-BD31-4B8C-83A1-F6EECF244321}">
                <p14:modId xmlns:p14="http://schemas.microsoft.com/office/powerpoint/2010/main" val="33128502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5" imgW="501" imgH="502" progId="TCLayout.ActiveDocument.1">
                  <p:embed/>
                </p:oleObj>
              </mc:Choice>
              <mc:Fallback>
                <p:oleObj name="think-cell Folie" r:id="rId15" imgW="501" imgH="502" progId="TCLayout.ActiveDocument.1">
                  <p:embed/>
                  <p:pic>
                    <p:nvPicPr>
                      <p:cNvPr id="7" name="Objekt 6" hidden="1"/>
                      <p:cNvPicPr/>
                      <p:nvPr/>
                    </p:nvPicPr>
                    <p:blipFill>
                      <a:blip r:embed="rId16"/>
                      <a:stretch>
                        <a:fillRect/>
                      </a:stretch>
                    </p:blipFill>
                    <p:spPr>
                      <a:xfrm>
                        <a:off x="1588" y="1588"/>
                        <a:ext cx="1588" cy="1588"/>
                      </a:xfrm>
                      <a:prstGeom prst="rect">
                        <a:avLst/>
                      </a:prstGeom>
                    </p:spPr>
                  </p:pic>
                </p:oleObj>
              </mc:Fallback>
            </mc:AlternateContent>
          </a:graphicData>
        </a:graphic>
      </p:graphicFrame>
      <p:pic>
        <p:nvPicPr>
          <p:cNvPr id="8" name="IAV_Logo">
            <a:extLst>
              <a:ext uri="{FF2B5EF4-FFF2-40B4-BE49-F238E27FC236}">
                <a16:creationId xmlns:a16="http://schemas.microsoft.com/office/drawing/2014/main" id="{5303FE09-13DE-40DF-9B8F-924668BBC2A2}"/>
              </a:ext>
            </a:extLst>
          </p:cNvPr>
          <p:cNvPicPr>
            <a:picLocks noChangeAspect="1"/>
          </p:cNvPicPr>
          <p:nvPr userDrawn="1"/>
        </p:nvPicPr>
        <p:blipFill>
          <a:blip r:embed="rId17" cstate="hq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10148244" y="5868379"/>
            <a:ext cx="976596" cy="540000"/>
          </a:xfrm>
          <a:prstGeom prst="rect">
            <a:avLst/>
          </a:prstGeom>
        </p:spPr>
      </p:pic>
      <p:sp>
        <p:nvSpPr>
          <p:cNvPr id="6" name="Titelplatzhalter 5">
            <a:extLst>
              <a:ext uri="{FF2B5EF4-FFF2-40B4-BE49-F238E27FC236}">
                <a16:creationId xmlns:a16="http://schemas.microsoft.com/office/drawing/2014/main" id="{215D79D1-0F07-F54D-A97D-0DF2C2639ECE}"/>
              </a:ext>
            </a:extLst>
          </p:cNvPr>
          <p:cNvSpPr>
            <a:spLocks noGrp="1"/>
          </p:cNvSpPr>
          <p:nvPr>
            <p:ph type="title"/>
          </p:nvPr>
        </p:nvSpPr>
        <p:spPr>
          <a:xfrm>
            <a:off x="539750" y="359767"/>
            <a:ext cx="10440988" cy="361875"/>
          </a:xfrm>
          <a:prstGeom prst="rect">
            <a:avLst/>
          </a:prstGeom>
        </p:spPr>
        <p:txBody>
          <a:bodyPr vert="horz" wrap="square" lIns="0" tIns="3600" rIns="0" bIns="0" rtlCol="0" anchor="t" anchorCtr="0">
            <a:spAutoFit/>
          </a:bodyPr>
          <a:lstStyle/>
          <a:p>
            <a:r>
              <a:rPr lang="en-US"/>
              <a:t>Insert Heading</a:t>
            </a:r>
            <a:endParaRPr lang="en-US" dirty="0"/>
          </a:p>
        </p:txBody>
      </p:sp>
      <p:sp>
        <p:nvSpPr>
          <p:cNvPr id="3" name="Textplatzhalter 2">
            <a:extLst>
              <a:ext uri="{FF2B5EF4-FFF2-40B4-BE49-F238E27FC236}">
                <a16:creationId xmlns:a16="http://schemas.microsoft.com/office/drawing/2014/main" id="{CC9BAD58-EA1D-0646-BB22-950E4D130218}"/>
              </a:ext>
            </a:extLst>
          </p:cNvPr>
          <p:cNvSpPr>
            <a:spLocks noGrp="1"/>
          </p:cNvSpPr>
          <p:nvPr>
            <p:ph type="body" idx="1"/>
          </p:nvPr>
        </p:nvSpPr>
        <p:spPr>
          <a:xfrm>
            <a:off x="539750" y="1295869"/>
            <a:ext cx="10441074" cy="4536000"/>
          </a:xfrm>
          <a:prstGeom prst="rect">
            <a:avLst/>
          </a:prstGeom>
        </p:spPr>
        <p:txBody>
          <a:bodyPr vert="horz" lIns="0" tIns="0" rIns="0" bIns="0" rtlCol="0">
            <a:noAutofit/>
          </a:body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Fußzeilenplatzhalter 3">
            <a:extLst>
              <a:ext uri="{FF2B5EF4-FFF2-40B4-BE49-F238E27FC236}">
                <a16:creationId xmlns:a16="http://schemas.microsoft.com/office/drawing/2014/main" id="{5EE18D1A-B42F-F947-9EA4-02E983BA8A0F}"/>
              </a:ext>
            </a:extLst>
          </p:cNvPr>
          <p:cNvSpPr>
            <a:spLocks noGrp="1"/>
          </p:cNvSpPr>
          <p:nvPr>
            <p:ph type="ftr" sz="quarter" idx="3"/>
          </p:nvPr>
        </p:nvSpPr>
        <p:spPr bwMode="gray">
          <a:xfrm>
            <a:off x="972123" y="6048375"/>
            <a:ext cx="4608513" cy="179364"/>
          </a:xfrm>
          <a:prstGeom prst="rect">
            <a:avLst/>
          </a:prstGeom>
        </p:spPr>
        <p:txBody>
          <a:bodyPr vert="horz" wrap="none" lIns="0" tIns="0" rIns="0" bIns="0" rtlCol="0" anchor="ctr"/>
          <a:lstStyle>
            <a:lvl1pPr algn="l">
              <a:defRPr sz="700">
                <a:solidFill>
                  <a:schemeClr val="tx1"/>
                </a:solidFill>
              </a:defRPr>
            </a:lvl1pPr>
          </a:lstStyle>
          <a:p>
            <a:r>
              <a:rPr lang="en-US"/>
              <a:t>IAV  MM/YYYY  Department Code  Initials  Status: draft, confidential</a:t>
            </a:r>
            <a:endParaRPr lang="en-US" dirty="0"/>
          </a:p>
        </p:txBody>
      </p:sp>
      <p:sp>
        <p:nvSpPr>
          <p:cNvPr id="5" name="Foliennummernplatzhalter 4">
            <a:extLst>
              <a:ext uri="{FF2B5EF4-FFF2-40B4-BE49-F238E27FC236}">
                <a16:creationId xmlns:a16="http://schemas.microsoft.com/office/drawing/2014/main" id="{C017BA7A-7483-0F40-B2B2-407F1D1086C8}"/>
              </a:ext>
            </a:extLst>
          </p:cNvPr>
          <p:cNvSpPr>
            <a:spLocks noGrp="1"/>
          </p:cNvSpPr>
          <p:nvPr>
            <p:ph type="sldNum" sz="quarter" idx="4"/>
          </p:nvPr>
        </p:nvSpPr>
        <p:spPr bwMode="gray">
          <a:xfrm>
            <a:off x="539664" y="6048399"/>
            <a:ext cx="360000" cy="179364"/>
          </a:xfrm>
          <a:prstGeom prst="rect">
            <a:avLst/>
          </a:prstGeom>
        </p:spPr>
        <p:txBody>
          <a:bodyPr vert="horz" wrap="none" lIns="0" tIns="0" rIns="0" bIns="0" rtlCol="0" anchor="ctr"/>
          <a:lstStyle>
            <a:lvl1pPr algn="l">
              <a:defRPr sz="700">
                <a:solidFill>
                  <a:schemeClr val="tx1"/>
                </a:solidFill>
              </a:defRPr>
            </a:lvl1pPr>
          </a:lstStyle>
          <a:p>
            <a:fld id="{C651C7C4-31E4-E340-822E-DEA0EA75A835}" type="slidenum">
              <a:rPr lang="en-US" smtClean="0"/>
              <a:pPr/>
              <a:t>‹#›</a:t>
            </a:fld>
            <a:endParaRPr lang="en-US" dirty="0"/>
          </a:p>
        </p:txBody>
      </p:sp>
    </p:spTree>
    <p:extLst>
      <p:ext uri="{BB962C8B-B14F-4D97-AF65-F5344CB8AC3E}">
        <p14:creationId xmlns:p14="http://schemas.microsoft.com/office/powerpoint/2010/main" val="386244251"/>
      </p:ext>
    </p:extLst>
  </p:cSld>
  <p:clrMap bg1="lt1" tx1="dk1" bg2="lt2" tx2="dk2" accent1="accent1" accent2="accent2" accent3="accent3" accent4="accent4" accent5="accent5" accent6="accent6" hlink="hlink" folHlink="folHlink"/>
  <p:sldLayoutIdLst>
    <p:sldLayoutId id="2147483756" r:id="rId1"/>
    <p:sldLayoutId id="2147483757" r:id="rId2"/>
    <p:sldLayoutId id="2147483758" r:id="rId3"/>
    <p:sldLayoutId id="2147483759" r:id="rId4"/>
    <p:sldLayoutId id="2147483760" r:id="rId5"/>
    <p:sldLayoutId id="2147483762" r:id="rId6"/>
    <p:sldLayoutId id="2147483763" r:id="rId7"/>
    <p:sldLayoutId id="2147483752" r:id="rId8"/>
    <p:sldLayoutId id="2147483755" r:id="rId9"/>
    <p:sldLayoutId id="2147483753" r:id="rId10"/>
    <p:sldLayoutId id="2147483761" r:id="rId11"/>
    <p:sldLayoutId id="2147483767" r:id="rId12"/>
  </p:sldLayoutIdLst>
  <p:hf hdr="0" dt="0"/>
  <p:txStyles>
    <p:titleStyle>
      <a:lvl1pPr algn="l" defTabSz="863995" rtl="0" eaLnBrk="1" latinLnBrk="0" hangingPunct="1">
        <a:lnSpc>
          <a:spcPct val="97000"/>
        </a:lnSpc>
        <a:spcBef>
          <a:spcPct val="0"/>
        </a:spcBef>
        <a:spcAft>
          <a:spcPts val="850"/>
        </a:spcAft>
        <a:buNone/>
        <a:defRPr sz="2400" b="1" kern="1200">
          <a:solidFill>
            <a:schemeClr val="tx1"/>
          </a:solidFill>
          <a:latin typeface="+mj-lt"/>
          <a:ea typeface="Aktiv Grotesk" panose="020B0504020202020204" pitchFamily="34" charset="0"/>
          <a:cs typeface="Aktiv Grotesk" panose="020B0504020202020204" pitchFamily="34" charset="0"/>
        </a:defRPr>
      </a:lvl1pPr>
    </p:titleStyle>
    <p:bodyStyle>
      <a:lvl1pPr marL="180000" indent="-180000" algn="l" defTabSz="863995" rtl="0" eaLnBrk="1" latinLnBrk="0" hangingPunct="1">
        <a:lnSpc>
          <a:spcPct val="120000"/>
        </a:lnSpc>
        <a:spcBef>
          <a:spcPts val="800"/>
        </a:spcBef>
        <a:spcAft>
          <a:spcPts val="0"/>
        </a:spcAft>
        <a:buClrTx/>
        <a:buFont typeface="Arial" panose="020B0604020202020204" pitchFamily="34" charset="0"/>
        <a:buChar char="•"/>
        <a:defRPr sz="1600" b="0" i="0" kern="1200">
          <a:solidFill>
            <a:schemeClr val="tx1"/>
          </a:solidFill>
          <a:latin typeface="+mn-lt"/>
          <a:ea typeface="Aktiv Grotesk" panose="020B0504020202020204" pitchFamily="34" charset="0"/>
          <a:cs typeface="Arial" panose="020B0604020202020204" pitchFamily="34" charset="0"/>
        </a:defRPr>
      </a:lvl1pPr>
      <a:lvl2pPr marL="360000" indent="-180000" algn="l" defTabSz="863995" rtl="0" eaLnBrk="1" latinLnBrk="0" hangingPunct="1">
        <a:lnSpc>
          <a:spcPct val="120000"/>
        </a:lnSpc>
        <a:spcBef>
          <a:spcPts val="800"/>
        </a:spcBef>
        <a:spcAft>
          <a:spcPts val="0"/>
        </a:spcAft>
        <a:buClr>
          <a:schemeClr val="tx1"/>
        </a:buClr>
        <a:buFont typeface="Arial" panose="020B0604020202020204" pitchFamily="34" charset="0"/>
        <a:buChar char="•"/>
        <a:defRPr sz="1600" b="0" i="0" kern="1200">
          <a:solidFill>
            <a:schemeClr val="tx1"/>
          </a:solidFill>
          <a:latin typeface="+mn-lt"/>
          <a:ea typeface="Aktiv Grotesk" panose="020B0504020202020204" pitchFamily="34" charset="0"/>
          <a:cs typeface="Arial" panose="020B0604020202020204" pitchFamily="34" charset="0"/>
        </a:defRPr>
      </a:lvl2pPr>
      <a:lvl3pPr marL="540000" indent="-179388" algn="l" defTabSz="863995" rtl="0" eaLnBrk="1" latinLnBrk="0" hangingPunct="1">
        <a:lnSpc>
          <a:spcPct val="120000"/>
        </a:lnSpc>
        <a:spcBef>
          <a:spcPts val="800"/>
        </a:spcBef>
        <a:spcAft>
          <a:spcPts val="0"/>
        </a:spcAft>
        <a:buClr>
          <a:schemeClr val="tx1"/>
        </a:buClr>
        <a:buFont typeface="Arial" panose="020B0604020202020204" pitchFamily="34" charset="0"/>
        <a:buChar char="•"/>
        <a:defRPr sz="1600" b="0" i="0" kern="1200">
          <a:solidFill>
            <a:schemeClr val="tx1"/>
          </a:solidFill>
          <a:latin typeface="+mn-lt"/>
          <a:ea typeface="Aktiv Grotesk" panose="020B0504020202020204" pitchFamily="34" charset="0"/>
          <a:cs typeface="Arial" panose="020B0604020202020204" pitchFamily="34" charset="0"/>
        </a:defRPr>
      </a:lvl3pPr>
      <a:lvl4pPr marL="720000" indent="-180000" algn="l" defTabSz="863995" rtl="0" eaLnBrk="1" latinLnBrk="0" hangingPunct="1">
        <a:lnSpc>
          <a:spcPct val="120000"/>
        </a:lnSpc>
        <a:spcBef>
          <a:spcPts val="800"/>
        </a:spcBef>
        <a:spcAft>
          <a:spcPts val="0"/>
        </a:spcAft>
        <a:buClr>
          <a:schemeClr val="tx1"/>
        </a:buClr>
        <a:buFont typeface="Arial" panose="020B0604020202020204" pitchFamily="34" charset="0"/>
        <a:buChar char="•"/>
        <a:defRPr sz="1600" b="0" i="0" kern="1200">
          <a:solidFill>
            <a:schemeClr val="tx1"/>
          </a:solidFill>
          <a:latin typeface="+mn-lt"/>
          <a:ea typeface="Aktiv Grotesk" panose="020B0504020202020204" pitchFamily="34" charset="0"/>
          <a:cs typeface="Arial" panose="020B0604020202020204" pitchFamily="34" charset="0"/>
        </a:defRPr>
      </a:lvl4pPr>
      <a:lvl5pPr marL="900000" indent="-180000" algn="l" defTabSz="863995" rtl="0" eaLnBrk="1" latinLnBrk="0" hangingPunct="1">
        <a:lnSpc>
          <a:spcPct val="120000"/>
        </a:lnSpc>
        <a:spcBef>
          <a:spcPts val="800"/>
        </a:spcBef>
        <a:spcAft>
          <a:spcPts val="0"/>
        </a:spcAft>
        <a:buClr>
          <a:schemeClr val="tx1"/>
        </a:buClr>
        <a:buFont typeface="Arial" panose="020B0604020202020204" pitchFamily="34" charset="0"/>
        <a:buChar char="•"/>
        <a:defRPr sz="1600" b="0" i="0" kern="1200">
          <a:solidFill>
            <a:schemeClr val="tx1"/>
          </a:solidFill>
          <a:latin typeface="+mn-lt"/>
          <a:ea typeface="Aktiv Grotesk" panose="020B0504020202020204" pitchFamily="34" charset="0"/>
          <a:cs typeface="Arial" panose="020B0604020202020204" pitchFamily="34" charset="0"/>
        </a:defRPr>
      </a:lvl5pPr>
      <a:lvl6pPr marL="2375986" indent="-215998" algn="l" defTabSz="86399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6pPr>
      <a:lvl7pPr marL="2807984" indent="-215998" algn="l" defTabSz="86399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7pPr>
      <a:lvl8pPr marL="3239981" indent="-215998" algn="l" defTabSz="86399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8pPr>
      <a:lvl9pPr marL="3671979" indent="-215998" algn="l" defTabSz="86399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9pPr>
    </p:bodyStyle>
    <p:otherStyle>
      <a:defPPr>
        <a:defRPr lang="de-DE"/>
      </a:defPPr>
      <a:lvl1pPr marL="0" algn="l" defTabSz="863995" rtl="0" eaLnBrk="1" latinLnBrk="0" hangingPunct="1">
        <a:defRPr sz="1701" kern="1200">
          <a:solidFill>
            <a:schemeClr val="tx1"/>
          </a:solidFill>
          <a:latin typeface="+mn-lt"/>
          <a:ea typeface="+mn-ea"/>
          <a:cs typeface="+mn-cs"/>
        </a:defRPr>
      </a:lvl1pPr>
      <a:lvl2pPr marL="431998" algn="l" defTabSz="863995" rtl="0" eaLnBrk="1" latinLnBrk="0" hangingPunct="1">
        <a:defRPr sz="1701" kern="1200">
          <a:solidFill>
            <a:schemeClr val="tx1"/>
          </a:solidFill>
          <a:latin typeface="+mn-lt"/>
          <a:ea typeface="+mn-ea"/>
          <a:cs typeface="+mn-cs"/>
        </a:defRPr>
      </a:lvl2pPr>
      <a:lvl3pPr marL="863995" algn="l" defTabSz="863995" rtl="0" eaLnBrk="1" latinLnBrk="0" hangingPunct="1">
        <a:defRPr sz="1701" kern="1200">
          <a:solidFill>
            <a:schemeClr val="tx1"/>
          </a:solidFill>
          <a:latin typeface="+mn-lt"/>
          <a:ea typeface="+mn-ea"/>
          <a:cs typeface="+mn-cs"/>
        </a:defRPr>
      </a:lvl3pPr>
      <a:lvl4pPr marL="1295993" algn="l" defTabSz="863995" rtl="0" eaLnBrk="1" latinLnBrk="0" hangingPunct="1">
        <a:defRPr sz="1701" kern="1200">
          <a:solidFill>
            <a:schemeClr val="tx1"/>
          </a:solidFill>
          <a:latin typeface="+mn-lt"/>
          <a:ea typeface="+mn-ea"/>
          <a:cs typeface="+mn-cs"/>
        </a:defRPr>
      </a:lvl4pPr>
      <a:lvl5pPr marL="1727990" algn="l" defTabSz="863995" rtl="0" eaLnBrk="1" latinLnBrk="0" hangingPunct="1">
        <a:defRPr sz="1701" kern="1200">
          <a:solidFill>
            <a:schemeClr val="tx1"/>
          </a:solidFill>
          <a:latin typeface="+mn-lt"/>
          <a:ea typeface="+mn-ea"/>
          <a:cs typeface="+mn-cs"/>
        </a:defRPr>
      </a:lvl5pPr>
      <a:lvl6pPr marL="2159988" algn="l" defTabSz="863995" rtl="0" eaLnBrk="1" latinLnBrk="0" hangingPunct="1">
        <a:defRPr sz="1701" kern="1200">
          <a:solidFill>
            <a:schemeClr val="tx1"/>
          </a:solidFill>
          <a:latin typeface="+mn-lt"/>
          <a:ea typeface="+mn-ea"/>
          <a:cs typeface="+mn-cs"/>
        </a:defRPr>
      </a:lvl6pPr>
      <a:lvl7pPr marL="2591984" algn="l" defTabSz="863995" rtl="0" eaLnBrk="1" latinLnBrk="0" hangingPunct="1">
        <a:defRPr sz="1701" kern="1200">
          <a:solidFill>
            <a:schemeClr val="tx1"/>
          </a:solidFill>
          <a:latin typeface="+mn-lt"/>
          <a:ea typeface="+mn-ea"/>
          <a:cs typeface="+mn-cs"/>
        </a:defRPr>
      </a:lvl7pPr>
      <a:lvl8pPr marL="3023982" algn="l" defTabSz="863995" rtl="0" eaLnBrk="1" latinLnBrk="0" hangingPunct="1">
        <a:defRPr sz="1701" kern="1200">
          <a:solidFill>
            <a:schemeClr val="tx1"/>
          </a:solidFill>
          <a:latin typeface="+mn-lt"/>
          <a:ea typeface="+mn-ea"/>
          <a:cs typeface="+mn-cs"/>
        </a:defRPr>
      </a:lvl8pPr>
      <a:lvl9pPr marL="3455980" algn="l" defTabSz="863995" rtl="0" eaLnBrk="1" latinLnBrk="0" hangingPunct="1">
        <a:defRPr sz="1701"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40" userDrawn="1">
          <p15:clr>
            <a:srgbClr val="F26B43"/>
          </p15:clr>
        </p15:guide>
        <p15:guide id="2" orient="horz" pos="3674" userDrawn="1">
          <p15:clr>
            <a:srgbClr val="F26B43"/>
          </p15:clr>
        </p15:guide>
        <p15:guide id="3" pos="6917" userDrawn="1">
          <p15:clr>
            <a:srgbClr val="F26B43"/>
          </p15:clr>
        </p15:guide>
        <p15:guide id="4" orient="horz" pos="227" userDrawn="1">
          <p15:clr>
            <a:srgbClr val="F26B43"/>
          </p15:clr>
        </p15:guide>
        <p15:guide id="5" orient="horz" pos="590" userDrawn="1">
          <p15:clr>
            <a:srgbClr val="F26B43"/>
          </p15:clr>
        </p15:guide>
        <p15:guide id="6" orient="horz" pos="81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38.svg"/><Relationship Id="rId3" Type="http://schemas.openxmlformats.org/officeDocument/2006/relationships/tags" Target="../tags/tag35.xml"/><Relationship Id="rId7" Type="http://schemas.openxmlformats.org/officeDocument/2006/relationships/image" Target="../media/image37.png"/><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notesSlide" Target="../notesSlides/notesSlide9.xml"/><Relationship Id="rId5" Type="http://schemas.openxmlformats.org/officeDocument/2006/relationships/slideLayout" Target="../slideLayouts/slideLayout6.xml"/><Relationship Id="rId10" Type="http://schemas.openxmlformats.org/officeDocument/2006/relationships/image" Target="../media/image40.svg"/><Relationship Id="rId4" Type="http://schemas.openxmlformats.org/officeDocument/2006/relationships/tags" Target="../tags/tag36.xml"/><Relationship Id="rId9" Type="http://schemas.openxmlformats.org/officeDocument/2006/relationships/image" Target="../media/image39.png"/></Relationships>
</file>

<file path=ppt/slides/_rels/slide11.xml.rels><?xml version="1.0" encoding="UTF-8" standalone="yes"?>
<Relationships xmlns="http://schemas.openxmlformats.org/package/2006/relationships"><Relationship Id="rId8" Type="http://schemas.openxmlformats.org/officeDocument/2006/relationships/notesSlide" Target="../notesSlides/notesSlide10.xml"/><Relationship Id="rId13" Type="http://schemas.openxmlformats.org/officeDocument/2006/relationships/image" Target="../media/image45.png"/><Relationship Id="rId3" Type="http://schemas.openxmlformats.org/officeDocument/2006/relationships/tags" Target="../tags/tag39.xml"/><Relationship Id="rId7" Type="http://schemas.openxmlformats.org/officeDocument/2006/relationships/slideLayout" Target="../slideLayouts/slideLayout6.xml"/><Relationship Id="rId12" Type="http://schemas.openxmlformats.org/officeDocument/2006/relationships/image" Target="../media/image44.svg"/><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tags" Target="../tags/tag42.xml"/><Relationship Id="rId11" Type="http://schemas.openxmlformats.org/officeDocument/2006/relationships/image" Target="../media/image43.png"/><Relationship Id="rId5" Type="http://schemas.openxmlformats.org/officeDocument/2006/relationships/tags" Target="../tags/tag41.xml"/><Relationship Id="rId10" Type="http://schemas.openxmlformats.org/officeDocument/2006/relationships/image" Target="../media/image42.svg"/><Relationship Id="rId4" Type="http://schemas.openxmlformats.org/officeDocument/2006/relationships/tags" Target="../tags/tag40.xml"/><Relationship Id="rId9" Type="http://schemas.openxmlformats.org/officeDocument/2006/relationships/image" Target="../media/image41.png"/><Relationship Id="rId14" Type="http://schemas.openxmlformats.org/officeDocument/2006/relationships/image" Target="../media/image46.svg"/></Relationships>
</file>

<file path=ppt/slides/_rels/slide12.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1.xml"/><Relationship Id="rId1" Type="http://schemas.openxmlformats.org/officeDocument/2006/relationships/slideLayout" Target="../slideLayouts/slideLayout6.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3.xml.rels><?xml version="1.0" encoding="UTF-8" standalone="yes"?>
<Relationships xmlns="http://schemas.openxmlformats.org/package/2006/relationships"><Relationship Id="rId13" Type="http://schemas.openxmlformats.org/officeDocument/2006/relationships/tags" Target="../tags/tag55.xml"/><Relationship Id="rId18" Type="http://schemas.openxmlformats.org/officeDocument/2006/relationships/tags" Target="../tags/tag60.xml"/><Relationship Id="rId26" Type="http://schemas.openxmlformats.org/officeDocument/2006/relationships/tags" Target="../tags/tag68.xml"/><Relationship Id="rId21" Type="http://schemas.openxmlformats.org/officeDocument/2006/relationships/tags" Target="../tags/tag63.xml"/><Relationship Id="rId34" Type="http://schemas.openxmlformats.org/officeDocument/2006/relationships/image" Target="../media/image50.png"/><Relationship Id="rId7" Type="http://schemas.openxmlformats.org/officeDocument/2006/relationships/tags" Target="../tags/tag49.xml"/><Relationship Id="rId12" Type="http://schemas.openxmlformats.org/officeDocument/2006/relationships/tags" Target="../tags/tag54.xml"/><Relationship Id="rId17" Type="http://schemas.openxmlformats.org/officeDocument/2006/relationships/tags" Target="../tags/tag59.xml"/><Relationship Id="rId25" Type="http://schemas.openxmlformats.org/officeDocument/2006/relationships/tags" Target="../tags/tag67.xml"/><Relationship Id="rId33" Type="http://schemas.openxmlformats.org/officeDocument/2006/relationships/image" Target="../media/image49.png"/><Relationship Id="rId2" Type="http://schemas.openxmlformats.org/officeDocument/2006/relationships/tags" Target="../tags/tag44.xml"/><Relationship Id="rId16" Type="http://schemas.openxmlformats.org/officeDocument/2006/relationships/tags" Target="../tags/tag58.xml"/><Relationship Id="rId20" Type="http://schemas.openxmlformats.org/officeDocument/2006/relationships/tags" Target="../tags/tag62.xml"/><Relationship Id="rId29" Type="http://schemas.openxmlformats.org/officeDocument/2006/relationships/slideLayout" Target="../slideLayouts/slideLayout6.xml"/><Relationship Id="rId1" Type="http://schemas.openxmlformats.org/officeDocument/2006/relationships/tags" Target="../tags/tag43.xml"/><Relationship Id="rId6" Type="http://schemas.openxmlformats.org/officeDocument/2006/relationships/tags" Target="../tags/tag48.xml"/><Relationship Id="rId11" Type="http://schemas.openxmlformats.org/officeDocument/2006/relationships/tags" Target="../tags/tag53.xml"/><Relationship Id="rId24" Type="http://schemas.openxmlformats.org/officeDocument/2006/relationships/tags" Target="../tags/tag66.xml"/><Relationship Id="rId32" Type="http://schemas.openxmlformats.org/officeDocument/2006/relationships/image" Target="../media/image48.png"/><Relationship Id="rId37" Type="http://schemas.openxmlformats.org/officeDocument/2006/relationships/image" Target="../media/image53.png"/><Relationship Id="rId5" Type="http://schemas.openxmlformats.org/officeDocument/2006/relationships/tags" Target="../tags/tag47.xml"/><Relationship Id="rId15" Type="http://schemas.openxmlformats.org/officeDocument/2006/relationships/tags" Target="../tags/tag57.xml"/><Relationship Id="rId23" Type="http://schemas.openxmlformats.org/officeDocument/2006/relationships/tags" Target="../tags/tag65.xml"/><Relationship Id="rId28" Type="http://schemas.openxmlformats.org/officeDocument/2006/relationships/tags" Target="../tags/tag70.xml"/><Relationship Id="rId36" Type="http://schemas.openxmlformats.org/officeDocument/2006/relationships/image" Target="../media/image52.png"/><Relationship Id="rId10" Type="http://schemas.openxmlformats.org/officeDocument/2006/relationships/tags" Target="../tags/tag52.xml"/><Relationship Id="rId19" Type="http://schemas.openxmlformats.org/officeDocument/2006/relationships/tags" Target="../tags/tag61.xml"/><Relationship Id="rId31" Type="http://schemas.openxmlformats.org/officeDocument/2006/relationships/image" Target="../media/image47.png"/><Relationship Id="rId4" Type="http://schemas.openxmlformats.org/officeDocument/2006/relationships/tags" Target="../tags/tag46.xml"/><Relationship Id="rId9" Type="http://schemas.openxmlformats.org/officeDocument/2006/relationships/tags" Target="../tags/tag51.xml"/><Relationship Id="rId14" Type="http://schemas.openxmlformats.org/officeDocument/2006/relationships/tags" Target="../tags/tag56.xml"/><Relationship Id="rId22" Type="http://schemas.openxmlformats.org/officeDocument/2006/relationships/tags" Target="../tags/tag64.xml"/><Relationship Id="rId27" Type="http://schemas.openxmlformats.org/officeDocument/2006/relationships/tags" Target="../tags/tag69.xml"/><Relationship Id="rId30" Type="http://schemas.openxmlformats.org/officeDocument/2006/relationships/notesSlide" Target="../notesSlides/notesSlide12.xml"/><Relationship Id="rId35" Type="http://schemas.openxmlformats.org/officeDocument/2006/relationships/image" Target="../media/image51.png"/><Relationship Id="rId8" Type="http://schemas.openxmlformats.org/officeDocument/2006/relationships/tags" Target="../tags/tag50.xml"/><Relationship Id="rId3" Type="http://schemas.openxmlformats.org/officeDocument/2006/relationships/tags" Target="../tags/tag45.xml"/></Relationships>
</file>

<file path=ppt/slides/_rels/slide14.xml.rels><?xml version="1.0" encoding="UTF-8" standalone="yes"?>
<Relationships xmlns="http://schemas.openxmlformats.org/package/2006/relationships"><Relationship Id="rId3" Type="http://schemas.openxmlformats.org/officeDocument/2006/relationships/tags" Target="../tags/tag73.xml"/><Relationship Id="rId2" Type="http://schemas.openxmlformats.org/officeDocument/2006/relationships/tags" Target="../tags/tag72.xml"/><Relationship Id="rId1" Type="http://schemas.openxmlformats.org/officeDocument/2006/relationships/tags" Target="../tags/tag71.xml"/><Relationship Id="rId5" Type="http://schemas.openxmlformats.org/officeDocument/2006/relationships/notesSlide" Target="../notesSlides/notesSlide13.xml"/><Relationship Id="rId4"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tags" Target="../tags/tag76.xml"/><Relationship Id="rId2" Type="http://schemas.openxmlformats.org/officeDocument/2006/relationships/tags" Target="../tags/tag75.xml"/><Relationship Id="rId1" Type="http://schemas.openxmlformats.org/officeDocument/2006/relationships/tags" Target="../tags/tag74.xml"/><Relationship Id="rId5" Type="http://schemas.openxmlformats.org/officeDocument/2006/relationships/notesSlide" Target="../notesSlides/notesSlide14.xml"/><Relationship Id="rId4"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tags" Target="../tags/tag79.xml"/><Relationship Id="rId2" Type="http://schemas.openxmlformats.org/officeDocument/2006/relationships/tags" Target="../tags/tag78.xml"/><Relationship Id="rId1" Type="http://schemas.openxmlformats.org/officeDocument/2006/relationships/tags" Target="../tags/tag77.xml"/><Relationship Id="rId5" Type="http://schemas.openxmlformats.org/officeDocument/2006/relationships/notesSlide" Target="../notesSlides/notesSlide15.xml"/><Relationship Id="rId4"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6.xml"/><Relationship Id="rId1" Type="http://schemas.openxmlformats.org/officeDocument/2006/relationships/slideLayout" Target="../slideLayouts/slideLayout6.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18.xml.rels><?xml version="1.0" encoding="UTF-8" standalone="yes"?>
<Relationships xmlns="http://schemas.openxmlformats.org/package/2006/relationships"><Relationship Id="rId3" Type="http://schemas.openxmlformats.org/officeDocument/2006/relationships/image" Target="../media/image54.png"/><Relationship Id="rId7" Type="http://schemas.openxmlformats.org/officeDocument/2006/relationships/image" Target="../media/image58.png"/><Relationship Id="rId2" Type="http://schemas.openxmlformats.org/officeDocument/2006/relationships/notesSlide" Target="../notesSlides/notesSlide17.xml"/><Relationship Id="rId1" Type="http://schemas.openxmlformats.org/officeDocument/2006/relationships/slideLayout" Target="../slideLayouts/slideLayout6.xml"/><Relationship Id="rId6" Type="http://schemas.openxmlformats.org/officeDocument/2006/relationships/image" Target="../media/image57.png"/><Relationship Id="rId5" Type="http://schemas.openxmlformats.org/officeDocument/2006/relationships/image" Target="../media/image56.png"/><Relationship Id="rId4" Type="http://schemas.openxmlformats.org/officeDocument/2006/relationships/image" Target="../media/image55.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3" Type="http://schemas.openxmlformats.org/officeDocument/2006/relationships/tags" Target="../tags/tag20.xml"/><Relationship Id="rId18" Type="http://schemas.openxmlformats.org/officeDocument/2006/relationships/notesSlide" Target="../notesSlides/notesSlide2.xml"/><Relationship Id="rId26" Type="http://schemas.openxmlformats.org/officeDocument/2006/relationships/image" Target="../media/image26.png"/><Relationship Id="rId3" Type="http://schemas.openxmlformats.org/officeDocument/2006/relationships/tags" Target="../tags/tag10.xml"/><Relationship Id="rId21" Type="http://schemas.openxmlformats.org/officeDocument/2006/relationships/image" Target="../media/image21.svg"/><Relationship Id="rId7" Type="http://schemas.openxmlformats.org/officeDocument/2006/relationships/tags" Target="../tags/tag14.xml"/><Relationship Id="rId12" Type="http://schemas.openxmlformats.org/officeDocument/2006/relationships/tags" Target="../tags/tag19.xml"/><Relationship Id="rId17" Type="http://schemas.openxmlformats.org/officeDocument/2006/relationships/slideLayout" Target="../slideLayouts/slideLayout6.xml"/><Relationship Id="rId25" Type="http://schemas.openxmlformats.org/officeDocument/2006/relationships/image" Target="../media/image25.svg"/><Relationship Id="rId33" Type="http://schemas.openxmlformats.org/officeDocument/2006/relationships/image" Target="../media/image33.svg"/><Relationship Id="rId2" Type="http://schemas.openxmlformats.org/officeDocument/2006/relationships/tags" Target="../tags/tag9.xml"/><Relationship Id="rId16" Type="http://schemas.openxmlformats.org/officeDocument/2006/relationships/tags" Target="../tags/tag23.xml"/><Relationship Id="rId20" Type="http://schemas.openxmlformats.org/officeDocument/2006/relationships/image" Target="../media/image20.png"/><Relationship Id="rId29" Type="http://schemas.openxmlformats.org/officeDocument/2006/relationships/image" Target="../media/image29.svg"/><Relationship Id="rId1" Type="http://schemas.openxmlformats.org/officeDocument/2006/relationships/tags" Target="../tags/tag8.xml"/><Relationship Id="rId6" Type="http://schemas.openxmlformats.org/officeDocument/2006/relationships/tags" Target="../tags/tag13.xml"/><Relationship Id="rId11" Type="http://schemas.openxmlformats.org/officeDocument/2006/relationships/tags" Target="../tags/tag18.xml"/><Relationship Id="rId24" Type="http://schemas.openxmlformats.org/officeDocument/2006/relationships/image" Target="../media/image24.png"/><Relationship Id="rId32" Type="http://schemas.openxmlformats.org/officeDocument/2006/relationships/image" Target="../media/image32.png"/><Relationship Id="rId5" Type="http://schemas.openxmlformats.org/officeDocument/2006/relationships/tags" Target="../tags/tag12.xml"/><Relationship Id="rId15" Type="http://schemas.openxmlformats.org/officeDocument/2006/relationships/tags" Target="../tags/tag22.xml"/><Relationship Id="rId23" Type="http://schemas.openxmlformats.org/officeDocument/2006/relationships/image" Target="../media/image23.svg"/><Relationship Id="rId28" Type="http://schemas.openxmlformats.org/officeDocument/2006/relationships/image" Target="../media/image28.png"/><Relationship Id="rId10" Type="http://schemas.openxmlformats.org/officeDocument/2006/relationships/tags" Target="../tags/tag17.xml"/><Relationship Id="rId19" Type="http://schemas.openxmlformats.org/officeDocument/2006/relationships/image" Target="../media/image19.png"/><Relationship Id="rId31" Type="http://schemas.openxmlformats.org/officeDocument/2006/relationships/image" Target="../media/image31.svg"/><Relationship Id="rId4" Type="http://schemas.openxmlformats.org/officeDocument/2006/relationships/tags" Target="../tags/tag11.xml"/><Relationship Id="rId9" Type="http://schemas.openxmlformats.org/officeDocument/2006/relationships/tags" Target="../tags/tag16.xml"/><Relationship Id="rId14" Type="http://schemas.openxmlformats.org/officeDocument/2006/relationships/tags" Target="../tags/tag21.xml"/><Relationship Id="rId22" Type="http://schemas.openxmlformats.org/officeDocument/2006/relationships/image" Target="../media/image22.png"/><Relationship Id="rId27" Type="http://schemas.openxmlformats.org/officeDocument/2006/relationships/image" Target="../media/image27.svg"/><Relationship Id="rId30" Type="http://schemas.openxmlformats.org/officeDocument/2006/relationships/image" Target="../media/image30.png"/><Relationship Id="rId8" Type="http://schemas.openxmlformats.org/officeDocument/2006/relationships/tags" Target="../tags/tag15.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3" Type="http://schemas.openxmlformats.org/officeDocument/2006/relationships/image" Target="../media/image59.jpg"/><Relationship Id="rId2" Type="http://schemas.openxmlformats.org/officeDocument/2006/relationships/notesSlide" Target="../notesSlides/notesSlide20.xml"/><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9.xml"/><Relationship Id="rId1" Type="http://schemas.openxmlformats.org/officeDocument/2006/relationships/tags" Target="../tags/tag80.xml"/><Relationship Id="rId5" Type="http://schemas.openxmlformats.org/officeDocument/2006/relationships/hyperlink" Target="https://github.com/iavofficial/IAV_quantumSAR" TargetMode="External"/><Relationship Id="rId4" Type="http://schemas.openxmlformats.org/officeDocument/2006/relationships/image" Target="../media/image60.emf"/></Relationships>
</file>

<file path=ppt/slides/_rels/slide23.xml.rels><?xml version="1.0" encoding="UTF-8" standalone="yes"?>
<Relationships xmlns="http://schemas.openxmlformats.org/package/2006/relationships"><Relationship Id="rId8" Type="http://schemas.openxmlformats.org/officeDocument/2006/relationships/notesSlide" Target="../notesSlides/notesSlide22.xml"/><Relationship Id="rId13" Type="http://schemas.openxmlformats.org/officeDocument/2006/relationships/image" Target="../media/image65.svg"/><Relationship Id="rId3" Type="http://schemas.openxmlformats.org/officeDocument/2006/relationships/tags" Target="../tags/tag83.xml"/><Relationship Id="rId7" Type="http://schemas.openxmlformats.org/officeDocument/2006/relationships/slideLayout" Target="../slideLayouts/slideLayout10.xml"/><Relationship Id="rId12" Type="http://schemas.openxmlformats.org/officeDocument/2006/relationships/image" Target="../media/image64.png"/><Relationship Id="rId2" Type="http://schemas.openxmlformats.org/officeDocument/2006/relationships/tags" Target="../tags/tag82.xml"/><Relationship Id="rId1" Type="http://schemas.openxmlformats.org/officeDocument/2006/relationships/tags" Target="../tags/tag81.xml"/><Relationship Id="rId6" Type="http://schemas.openxmlformats.org/officeDocument/2006/relationships/tags" Target="../tags/tag86.xml"/><Relationship Id="rId11" Type="http://schemas.openxmlformats.org/officeDocument/2006/relationships/image" Target="../media/image63.svg"/><Relationship Id="rId5" Type="http://schemas.openxmlformats.org/officeDocument/2006/relationships/tags" Target="../tags/tag85.xml"/><Relationship Id="rId15" Type="http://schemas.openxmlformats.org/officeDocument/2006/relationships/image" Target="../media/image67.svg"/><Relationship Id="rId10" Type="http://schemas.openxmlformats.org/officeDocument/2006/relationships/image" Target="../media/image62.png"/><Relationship Id="rId4" Type="http://schemas.openxmlformats.org/officeDocument/2006/relationships/tags" Target="../tags/tag84.xml"/><Relationship Id="rId9" Type="http://schemas.openxmlformats.org/officeDocument/2006/relationships/image" Target="../media/image61.emf"/><Relationship Id="rId14" Type="http://schemas.openxmlformats.org/officeDocument/2006/relationships/image" Target="../media/image66.png"/></Relationships>
</file>

<file path=ppt/slides/_rels/slide24.xml.rels><?xml version="1.0" encoding="UTF-8" standalone="yes"?>
<Relationships xmlns="http://schemas.openxmlformats.org/package/2006/relationships"><Relationship Id="rId3" Type="http://schemas.openxmlformats.org/officeDocument/2006/relationships/image" Target="../media/image68.emf"/><Relationship Id="rId2" Type="http://schemas.openxmlformats.org/officeDocument/2006/relationships/notesSlide" Target="../notesSlides/notesSlide23.xml"/><Relationship Id="rId1" Type="http://schemas.openxmlformats.org/officeDocument/2006/relationships/slideLayout" Target="../slideLayouts/slideLayout10.xml"/></Relationships>
</file>

<file path=ppt/slides/_rels/slide25.xml.rels><?xml version="1.0" encoding="UTF-8" standalone="yes"?>
<Relationships xmlns="http://schemas.openxmlformats.org/package/2006/relationships"><Relationship Id="rId8" Type="http://schemas.openxmlformats.org/officeDocument/2006/relationships/tags" Target="../tags/tag94.xml"/><Relationship Id="rId13" Type="http://schemas.openxmlformats.org/officeDocument/2006/relationships/image" Target="../media/image23.svg"/><Relationship Id="rId18" Type="http://schemas.openxmlformats.org/officeDocument/2006/relationships/image" Target="../media/image73.png"/><Relationship Id="rId3" Type="http://schemas.openxmlformats.org/officeDocument/2006/relationships/tags" Target="../tags/tag89.xml"/><Relationship Id="rId21" Type="http://schemas.openxmlformats.org/officeDocument/2006/relationships/image" Target="../media/image76.svg"/><Relationship Id="rId7" Type="http://schemas.openxmlformats.org/officeDocument/2006/relationships/tags" Target="../tags/tag93.xml"/><Relationship Id="rId12" Type="http://schemas.openxmlformats.org/officeDocument/2006/relationships/image" Target="../media/image22.png"/><Relationship Id="rId17" Type="http://schemas.openxmlformats.org/officeDocument/2006/relationships/image" Target="../media/image72.svg"/><Relationship Id="rId2" Type="http://schemas.openxmlformats.org/officeDocument/2006/relationships/tags" Target="../tags/tag88.xml"/><Relationship Id="rId16" Type="http://schemas.openxmlformats.org/officeDocument/2006/relationships/image" Target="../media/image71.png"/><Relationship Id="rId20" Type="http://schemas.openxmlformats.org/officeDocument/2006/relationships/image" Target="../media/image75.png"/><Relationship Id="rId1" Type="http://schemas.openxmlformats.org/officeDocument/2006/relationships/tags" Target="../tags/tag87.xml"/><Relationship Id="rId6" Type="http://schemas.openxmlformats.org/officeDocument/2006/relationships/tags" Target="../tags/tag92.xml"/><Relationship Id="rId11" Type="http://schemas.openxmlformats.org/officeDocument/2006/relationships/notesSlide" Target="../notesSlides/notesSlide24.xml"/><Relationship Id="rId5" Type="http://schemas.openxmlformats.org/officeDocument/2006/relationships/tags" Target="../tags/tag91.xml"/><Relationship Id="rId15" Type="http://schemas.openxmlformats.org/officeDocument/2006/relationships/image" Target="../media/image70.svg"/><Relationship Id="rId23" Type="http://schemas.openxmlformats.org/officeDocument/2006/relationships/image" Target="../media/image78.svg"/><Relationship Id="rId10" Type="http://schemas.openxmlformats.org/officeDocument/2006/relationships/slideLayout" Target="../slideLayouts/slideLayout8.xml"/><Relationship Id="rId19" Type="http://schemas.openxmlformats.org/officeDocument/2006/relationships/image" Target="../media/image74.svg"/><Relationship Id="rId4" Type="http://schemas.openxmlformats.org/officeDocument/2006/relationships/tags" Target="../tags/tag90.xml"/><Relationship Id="rId9" Type="http://schemas.openxmlformats.org/officeDocument/2006/relationships/tags" Target="../tags/tag95.xml"/><Relationship Id="rId14" Type="http://schemas.openxmlformats.org/officeDocument/2006/relationships/image" Target="../media/image69.png"/><Relationship Id="rId22" Type="http://schemas.openxmlformats.org/officeDocument/2006/relationships/image" Target="../media/image77.png"/></Relationships>
</file>

<file path=ppt/slides/_rels/slide26.xml.rels><?xml version="1.0" encoding="UTF-8" standalone="yes"?>
<Relationships xmlns="http://schemas.openxmlformats.org/package/2006/relationships"><Relationship Id="rId3" Type="http://schemas.openxmlformats.org/officeDocument/2006/relationships/tags" Target="../tags/tag98.xml"/><Relationship Id="rId2" Type="http://schemas.openxmlformats.org/officeDocument/2006/relationships/tags" Target="../tags/tag97.xml"/><Relationship Id="rId1" Type="http://schemas.openxmlformats.org/officeDocument/2006/relationships/tags" Target="../tags/tag96.xml"/><Relationship Id="rId6" Type="http://schemas.openxmlformats.org/officeDocument/2006/relationships/hyperlink" Target="mailto:dennis.kengo.oka@iav.jp" TargetMode="External"/><Relationship Id="rId5" Type="http://schemas.openxmlformats.org/officeDocument/2006/relationships/notesSlide" Target="../notesSlides/notesSlide25.xml"/><Relationship Id="rId4"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3.xml"/><Relationship Id="rId1" Type="http://schemas.openxmlformats.org/officeDocument/2006/relationships/slideLayout" Target="../slideLayouts/slideLayout5.xml"/><Relationship Id="rId5" Type="http://schemas.openxmlformats.org/officeDocument/2006/relationships/image" Target="../media/image36.jpeg"/><Relationship Id="rId4" Type="http://schemas.openxmlformats.org/officeDocument/2006/relationships/image" Target="../media/image35.png"/></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6.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6.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6.xml"/><Relationship Id="rId1" Type="http://schemas.openxmlformats.org/officeDocument/2006/relationships/tags" Target="../tags/tag24.xml"/><Relationship Id="rId4" Type="http://schemas.openxmlformats.org/officeDocument/2006/relationships/chart" Target="../charts/chart2.xml"/></Relationships>
</file>

<file path=ppt/slides/_rels/slide8.xml.rels><?xml version="1.0" encoding="UTF-8" standalone="yes"?>
<Relationships xmlns="http://schemas.openxmlformats.org/package/2006/relationships"><Relationship Id="rId8" Type="http://schemas.openxmlformats.org/officeDocument/2006/relationships/image" Target="../media/image38.svg"/><Relationship Id="rId3" Type="http://schemas.openxmlformats.org/officeDocument/2006/relationships/tags" Target="../tags/tag27.xml"/><Relationship Id="rId7" Type="http://schemas.openxmlformats.org/officeDocument/2006/relationships/image" Target="../media/image3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notesSlide" Target="../notesSlides/notesSlide7.xml"/><Relationship Id="rId5" Type="http://schemas.openxmlformats.org/officeDocument/2006/relationships/slideLayout" Target="../slideLayouts/slideLayout6.xml"/><Relationship Id="rId10" Type="http://schemas.openxmlformats.org/officeDocument/2006/relationships/image" Target="../media/image40.svg"/><Relationship Id="rId4" Type="http://schemas.openxmlformats.org/officeDocument/2006/relationships/tags" Target="../tags/tag28.xml"/><Relationship Id="rId9" Type="http://schemas.openxmlformats.org/officeDocument/2006/relationships/image" Target="../media/image39.png"/></Relationships>
</file>

<file path=ppt/slides/_rels/slide9.xml.rels><?xml version="1.0" encoding="UTF-8" standalone="yes"?>
<Relationships xmlns="http://schemas.openxmlformats.org/package/2006/relationships"><Relationship Id="rId8" Type="http://schemas.openxmlformats.org/officeDocument/2006/relationships/image" Target="../media/image38.svg"/><Relationship Id="rId3" Type="http://schemas.openxmlformats.org/officeDocument/2006/relationships/tags" Target="../tags/tag31.xml"/><Relationship Id="rId7" Type="http://schemas.openxmlformats.org/officeDocument/2006/relationships/image" Target="../media/image37.png"/><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notesSlide" Target="../notesSlides/notesSlide8.xml"/><Relationship Id="rId5" Type="http://schemas.openxmlformats.org/officeDocument/2006/relationships/slideLayout" Target="../slideLayouts/slideLayout6.xml"/><Relationship Id="rId10" Type="http://schemas.openxmlformats.org/officeDocument/2006/relationships/image" Target="../media/image40.svg"/><Relationship Id="rId4" Type="http://schemas.openxmlformats.org/officeDocument/2006/relationships/tags" Target="../tags/tag32.xml"/><Relationship Id="rId9" Type="http://schemas.openxmlformats.org/officeDocument/2006/relationships/image" Target="../media/image3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Titel 47">
            <a:extLst>
              <a:ext uri="{FF2B5EF4-FFF2-40B4-BE49-F238E27FC236}">
                <a16:creationId xmlns:a16="http://schemas.microsoft.com/office/drawing/2014/main" id="{9DF01F17-F9D2-470C-98BE-243CD5ED053D}"/>
              </a:ext>
            </a:extLst>
          </p:cNvPr>
          <p:cNvSpPr>
            <a:spLocks noGrp="1"/>
          </p:cNvSpPr>
          <p:nvPr>
            <p:ph type="title"/>
            <p:custDataLst>
              <p:tags r:id="rId2"/>
            </p:custDataLst>
          </p:nvPr>
        </p:nvSpPr>
        <p:spPr>
          <a:xfrm>
            <a:off x="539750" y="2576183"/>
            <a:ext cx="8280000" cy="1203964"/>
          </a:xfrm>
        </p:spPr>
        <p:txBody>
          <a:bodyPr/>
          <a:lstStyle/>
          <a:p>
            <a:r>
              <a:rPr lang="en-US" dirty="0"/>
              <a:t>Cybersecurity Threats and Risks; </a:t>
            </a:r>
            <a:br>
              <a:rPr lang="en-US" dirty="0"/>
            </a:br>
            <a:r>
              <a:rPr lang="en-US" dirty="0"/>
              <a:t>International Regulatory Developments; </a:t>
            </a:r>
            <a:br>
              <a:rPr lang="en-US" dirty="0"/>
            </a:br>
            <a:r>
              <a:rPr lang="en-US" dirty="0"/>
              <a:t>PQC (Post-Quantum Cryptography)</a:t>
            </a:r>
          </a:p>
        </p:txBody>
      </p:sp>
      <p:sp>
        <p:nvSpPr>
          <p:cNvPr id="2" name="Fußzeilenplatzhalter 1">
            <a:extLst>
              <a:ext uri="{FF2B5EF4-FFF2-40B4-BE49-F238E27FC236}">
                <a16:creationId xmlns:a16="http://schemas.microsoft.com/office/drawing/2014/main" id="{C8608852-4567-4AF1-89B4-7879BA4F31C0}"/>
              </a:ext>
            </a:extLst>
          </p:cNvPr>
          <p:cNvSpPr>
            <a:spLocks noGrp="1"/>
          </p:cNvSpPr>
          <p:nvPr>
            <p:ph type="ftr" sz="quarter" idx="3"/>
          </p:nvPr>
        </p:nvSpPr>
        <p:spPr/>
        <p:txBody>
          <a:bodyPr/>
          <a:lstStyle/>
          <a:p>
            <a:r>
              <a:rPr lang="en-US"/>
              <a:t>IAV  MM/YYYY  Department Code  Initials  Status: draft, confidential</a:t>
            </a:r>
            <a:endParaRPr lang="en-US" dirty="0"/>
          </a:p>
        </p:txBody>
      </p:sp>
      <p:sp>
        <p:nvSpPr>
          <p:cNvPr id="51" name="Foliennummernplatzhalter 50">
            <a:extLst>
              <a:ext uri="{FF2B5EF4-FFF2-40B4-BE49-F238E27FC236}">
                <a16:creationId xmlns:a16="http://schemas.microsoft.com/office/drawing/2014/main" id="{9E349357-E0E5-4F4E-9B42-94751C2C86F3}"/>
              </a:ext>
            </a:extLst>
          </p:cNvPr>
          <p:cNvSpPr>
            <a:spLocks noGrp="1"/>
          </p:cNvSpPr>
          <p:nvPr>
            <p:ph type="sldNum" sz="quarter" idx="4"/>
          </p:nvPr>
        </p:nvSpPr>
        <p:spPr/>
        <p:txBody>
          <a:bodyPr/>
          <a:lstStyle/>
          <a:p>
            <a:fld id="{C651C7C4-31E4-E340-822E-DEA0EA75A835}" type="slidenum">
              <a:rPr lang="en-US" smtClean="0"/>
              <a:pPr/>
              <a:t>1</a:t>
            </a:fld>
            <a:endParaRPr lang="en-US" dirty="0"/>
          </a:p>
        </p:txBody>
      </p:sp>
      <p:sp>
        <p:nvSpPr>
          <p:cNvPr id="49" name="Textplatzhalter 48">
            <a:extLst>
              <a:ext uri="{FF2B5EF4-FFF2-40B4-BE49-F238E27FC236}">
                <a16:creationId xmlns:a16="http://schemas.microsoft.com/office/drawing/2014/main" id="{F2D4C992-6263-44EE-BBDD-FD2201250A58}"/>
              </a:ext>
            </a:extLst>
          </p:cNvPr>
          <p:cNvSpPr>
            <a:spLocks noGrp="1"/>
          </p:cNvSpPr>
          <p:nvPr>
            <p:ph type="body" sz="quarter" idx="13"/>
            <p:custDataLst>
              <p:tags r:id="rId3"/>
            </p:custDataLst>
          </p:nvPr>
        </p:nvSpPr>
        <p:spPr>
          <a:xfrm>
            <a:off x="539750" y="3960813"/>
            <a:ext cx="8280400" cy="1785938"/>
          </a:xfrm>
        </p:spPr>
        <p:txBody>
          <a:bodyPr/>
          <a:lstStyle/>
          <a:p>
            <a:r>
              <a:rPr lang="en-US" dirty="0"/>
              <a:t>Global Technical &amp; Cybersecurity Advisor</a:t>
            </a:r>
          </a:p>
          <a:p>
            <a:r>
              <a:rPr lang="en-US" dirty="0"/>
              <a:t>Dennis Kengo Oka</a:t>
            </a:r>
          </a:p>
          <a:p>
            <a:r>
              <a:rPr lang="en-US" dirty="0"/>
              <a:t>dennis.kengo.oka@iav.jp</a:t>
            </a:r>
          </a:p>
          <a:p>
            <a:endParaRPr lang="en-US" dirty="0"/>
          </a:p>
          <a:p>
            <a:endParaRPr lang="en-US" dirty="0"/>
          </a:p>
          <a:p>
            <a:r>
              <a:rPr lang="en-US" dirty="0" err="1"/>
              <a:t>GlobalPlatform</a:t>
            </a:r>
            <a:r>
              <a:rPr lang="en-US" dirty="0"/>
              <a:t> Cybersecurity Vehicle Forum</a:t>
            </a:r>
          </a:p>
          <a:p>
            <a:r>
              <a:rPr lang="en-US" dirty="0"/>
              <a:t>May 15, 2025, Shanghai, China</a:t>
            </a:r>
          </a:p>
        </p:txBody>
      </p:sp>
    </p:spTree>
    <p:custDataLst>
      <p:tags r:id="rId1"/>
    </p:custDataLst>
    <p:extLst>
      <p:ext uri="{BB962C8B-B14F-4D97-AF65-F5344CB8AC3E}">
        <p14:creationId xmlns:p14="http://schemas.microsoft.com/office/powerpoint/2010/main" val="63991450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A1F50D-687B-5C9C-4A7F-2AEA041A3B65}"/>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811BF395-3C77-908F-436E-B5DE298D15DF}"/>
              </a:ext>
            </a:extLst>
          </p:cNvPr>
          <p:cNvSpPr>
            <a:spLocks noGrp="1"/>
          </p:cNvSpPr>
          <p:nvPr>
            <p:ph type="title"/>
          </p:nvPr>
        </p:nvSpPr>
        <p:spPr/>
        <p:txBody>
          <a:bodyPr/>
          <a:lstStyle/>
          <a:p>
            <a:r>
              <a:rPr lang="en-US" dirty="0"/>
              <a:t>End-to-End Cybersecurity Solutions</a:t>
            </a:r>
          </a:p>
        </p:txBody>
      </p:sp>
      <p:sp>
        <p:nvSpPr>
          <p:cNvPr id="3" name="Footer Placeholder 2">
            <a:extLst>
              <a:ext uri="{FF2B5EF4-FFF2-40B4-BE49-F238E27FC236}">
                <a16:creationId xmlns:a16="http://schemas.microsoft.com/office/drawing/2014/main" id="{44B27DC0-105E-476E-150C-CBA3AA73FA89}"/>
              </a:ext>
            </a:extLst>
          </p:cNvPr>
          <p:cNvSpPr>
            <a:spLocks noGrp="1"/>
          </p:cNvSpPr>
          <p:nvPr>
            <p:ph type="ftr" sz="quarter" idx="10"/>
          </p:nvPr>
        </p:nvSpPr>
        <p:spPr/>
        <p:txBody>
          <a:bodyPr/>
          <a:lstStyle/>
          <a:p>
            <a:r>
              <a:rPr lang="en-US" dirty="0"/>
              <a:t>IAV  05/2025  IAVJ  DKO  Status: draft, confidential</a:t>
            </a:r>
          </a:p>
        </p:txBody>
      </p:sp>
      <p:sp>
        <p:nvSpPr>
          <p:cNvPr id="4" name="Slide Number Placeholder 3">
            <a:extLst>
              <a:ext uri="{FF2B5EF4-FFF2-40B4-BE49-F238E27FC236}">
                <a16:creationId xmlns:a16="http://schemas.microsoft.com/office/drawing/2014/main" id="{6362919C-D1F4-EDE2-EC05-CF3D7B23F728}"/>
              </a:ext>
            </a:extLst>
          </p:cNvPr>
          <p:cNvSpPr>
            <a:spLocks noGrp="1"/>
          </p:cNvSpPr>
          <p:nvPr>
            <p:ph type="sldNum" sz="quarter" idx="11"/>
          </p:nvPr>
        </p:nvSpPr>
        <p:spPr/>
        <p:txBody>
          <a:bodyPr/>
          <a:lstStyle/>
          <a:p>
            <a:fld id="{C651C7C4-31E4-E340-822E-DEA0EA75A835}" type="slidenum">
              <a:rPr lang="en-US" smtClean="0"/>
              <a:pPr/>
              <a:t>10</a:t>
            </a:fld>
            <a:endParaRPr lang="en-US" dirty="0"/>
          </a:p>
        </p:txBody>
      </p:sp>
      <p:cxnSp>
        <p:nvCxnSpPr>
          <p:cNvPr id="15" name="Straight Arrow Connector 14">
            <a:extLst>
              <a:ext uri="{FF2B5EF4-FFF2-40B4-BE49-F238E27FC236}">
                <a16:creationId xmlns:a16="http://schemas.microsoft.com/office/drawing/2014/main" id="{A5B0795B-5495-9D10-FA12-1E8F626469B2}"/>
              </a:ext>
            </a:extLst>
          </p:cNvPr>
          <p:cNvCxnSpPr/>
          <p:nvPr/>
        </p:nvCxnSpPr>
        <p:spPr>
          <a:xfrm flipH="1" flipV="1">
            <a:off x="6828841" y="2354150"/>
            <a:ext cx="1764196" cy="1152128"/>
          </a:xfrm>
          <a:prstGeom prst="straightConnector1">
            <a:avLst/>
          </a:prstGeom>
          <a:ln w="381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B47E29AB-53B7-392A-791C-B6936EC9E2F8}"/>
              </a:ext>
            </a:extLst>
          </p:cNvPr>
          <p:cNvCxnSpPr>
            <a:cxnSpLocks/>
          </p:cNvCxnSpPr>
          <p:nvPr/>
        </p:nvCxnSpPr>
        <p:spPr>
          <a:xfrm flipH="1">
            <a:off x="2545512" y="2354150"/>
            <a:ext cx="1764196" cy="1152128"/>
          </a:xfrm>
          <a:prstGeom prst="straightConnector1">
            <a:avLst/>
          </a:prstGeom>
          <a:ln w="381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 name="Rectangle: Rounded Corners 1">
            <a:extLst>
              <a:ext uri="{FF2B5EF4-FFF2-40B4-BE49-F238E27FC236}">
                <a16:creationId xmlns:a16="http://schemas.microsoft.com/office/drawing/2014/main" id="{5F59953E-EA70-FF00-8089-980B11047385}"/>
              </a:ext>
            </a:extLst>
          </p:cNvPr>
          <p:cNvSpPr/>
          <p:nvPr/>
        </p:nvSpPr>
        <p:spPr>
          <a:xfrm>
            <a:off x="1007716" y="5316168"/>
            <a:ext cx="9397044" cy="529084"/>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lstStyle/>
          <a:p>
            <a:pPr algn="ctr">
              <a:spcBef>
                <a:spcPts val="800"/>
              </a:spcBef>
            </a:pPr>
            <a:r>
              <a:rPr lang="en-US" sz="2000" dirty="0"/>
              <a:t>End-to-end cybersecurity solutions are needed to reduce the risks</a:t>
            </a:r>
          </a:p>
        </p:txBody>
      </p:sp>
      <p:sp>
        <p:nvSpPr>
          <p:cNvPr id="5" name="Speech Bubble: Rectangle with Corners Rounded 4">
            <a:extLst>
              <a:ext uri="{FF2B5EF4-FFF2-40B4-BE49-F238E27FC236}">
                <a16:creationId xmlns:a16="http://schemas.microsoft.com/office/drawing/2014/main" id="{3EBA33D2-B467-A030-95DA-DC9B2F7D2208}"/>
              </a:ext>
            </a:extLst>
          </p:cNvPr>
          <p:cNvSpPr/>
          <p:nvPr/>
        </p:nvSpPr>
        <p:spPr>
          <a:xfrm>
            <a:off x="8392269" y="721642"/>
            <a:ext cx="2873667" cy="1952443"/>
          </a:xfrm>
          <a:prstGeom prst="wedgeRoundRectCallou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lstStyle/>
          <a:p>
            <a:pPr algn="l">
              <a:spcBef>
                <a:spcPts val="800"/>
              </a:spcBef>
            </a:pPr>
            <a:r>
              <a:rPr lang="en-US" sz="1600" dirty="0"/>
              <a:t>Anti reverse-engineering techniques</a:t>
            </a:r>
          </a:p>
          <a:p>
            <a:pPr algn="l">
              <a:spcBef>
                <a:spcPts val="800"/>
              </a:spcBef>
            </a:pPr>
            <a:r>
              <a:rPr lang="en-US" sz="1600" dirty="0"/>
              <a:t>Secure communication and session management</a:t>
            </a:r>
          </a:p>
          <a:p>
            <a:pPr algn="l">
              <a:spcBef>
                <a:spcPts val="800"/>
              </a:spcBef>
            </a:pPr>
            <a:r>
              <a:rPr lang="en-US" sz="1600" dirty="0"/>
              <a:t>Memory protection and secure storage</a:t>
            </a:r>
          </a:p>
        </p:txBody>
      </p:sp>
      <p:sp>
        <p:nvSpPr>
          <p:cNvPr id="8" name="TextBox 7">
            <a:extLst>
              <a:ext uri="{FF2B5EF4-FFF2-40B4-BE49-F238E27FC236}">
                <a16:creationId xmlns:a16="http://schemas.microsoft.com/office/drawing/2014/main" id="{ED925E57-7148-529C-5406-1A35FFC93042}"/>
              </a:ext>
            </a:extLst>
          </p:cNvPr>
          <p:cNvSpPr txBox="1"/>
          <p:nvPr/>
        </p:nvSpPr>
        <p:spPr>
          <a:xfrm>
            <a:off x="9119911" y="-1"/>
            <a:ext cx="3138292" cy="400110"/>
          </a:xfrm>
          <a:prstGeom prst="rect">
            <a:avLst/>
          </a:prstGeom>
          <a:noFill/>
        </p:spPr>
        <p:txBody>
          <a:bodyPr wrap="square" rtlCol="0">
            <a:spAutoFit/>
          </a:bodyPr>
          <a:lstStyle/>
          <a:p>
            <a:pPr algn="l"/>
            <a:r>
              <a:rPr lang="en-US" sz="1000" dirty="0"/>
              <a:t>API: Application Programming Interface</a:t>
            </a:r>
          </a:p>
          <a:p>
            <a:pPr algn="l"/>
            <a:r>
              <a:rPr lang="en-US" sz="1000" dirty="0"/>
              <a:t>IAM: Identity and Access Management</a:t>
            </a:r>
          </a:p>
        </p:txBody>
      </p:sp>
      <p:sp>
        <p:nvSpPr>
          <p:cNvPr id="10" name="Speech Bubble: Rectangle with Corners Rounded 9">
            <a:extLst>
              <a:ext uri="{FF2B5EF4-FFF2-40B4-BE49-F238E27FC236}">
                <a16:creationId xmlns:a16="http://schemas.microsoft.com/office/drawing/2014/main" id="{5DEC2F9E-B5EE-D8B0-0052-F97206AA415B}"/>
              </a:ext>
            </a:extLst>
          </p:cNvPr>
          <p:cNvSpPr/>
          <p:nvPr/>
        </p:nvSpPr>
        <p:spPr>
          <a:xfrm>
            <a:off x="4275563" y="2354151"/>
            <a:ext cx="2610146" cy="1792926"/>
          </a:xfrm>
          <a:prstGeom prst="wedgeRoundRectCallout">
            <a:avLst>
              <a:gd name="adj1" fmla="val 22659"/>
              <a:gd name="adj2" fmla="val 57837"/>
              <a:gd name="adj3" fmla="val 1666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lstStyle/>
          <a:p>
            <a:pPr algn="l">
              <a:spcBef>
                <a:spcPts val="800"/>
              </a:spcBef>
            </a:pPr>
            <a:r>
              <a:rPr lang="en-US" sz="1600" dirty="0"/>
              <a:t>Secure APIs and service communication</a:t>
            </a:r>
          </a:p>
          <a:p>
            <a:pPr algn="l">
              <a:spcBef>
                <a:spcPts val="800"/>
              </a:spcBef>
            </a:pPr>
            <a:r>
              <a:rPr lang="en-US" sz="1600" dirty="0"/>
              <a:t>End-to-end encryption</a:t>
            </a:r>
          </a:p>
          <a:p>
            <a:pPr algn="l">
              <a:spcBef>
                <a:spcPts val="800"/>
              </a:spcBef>
            </a:pPr>
            <a:r>
              <a:rPr lang="en-US" sz="1600" dirty="0"/>
              <a:t>IAM</a:t>
            </a:r>
          </a:p>
          <a:p>
            <a:pPr algn="l">
              <a:spcBef>
                <a:spcPts val="800"/>
              </a:spcBef>
            </a:pPr>
            <a:r>
              <a:rPr lang="en-US" sz="1600" dirty="0"/>
              <a:t>Logging and monitoring</a:t>
            </a:r>
          </a:p>
        </p:txBody>
      </p:sp>
      <p:cxnSp>
        <p:nvCxnSpPr>
          <p:cNvPr id="12" name="Straight Arrow Connector 11">
            <a:extLst>
              <a:ext uri="{FF2B5EF4-FFF2-40B4-BE49-F238E27FC236}">
                <a16:creationId xmlns:a16="http://schemas.microsoft.com/office/drawing/2014/main" id="{C3CE5B0F-9847-D20A-C22A-D69644272231}"/>
              </a:ext>
            </a:extLst>
          </p:cNvPr>
          <p:cNvCxnSpPr>
            <a:cxnSpLocks/>
          </p:cNvCxnSpPr>
          <p:nvPr/>
        </p:nvCxnSpPr>
        <p:spPr>
          <a:xfrm flipH="1">
            <a:off x="3756317" y="4356211"/>
            <a:ext cx="4007765" cy="0"/>
          </a:xfrm>
          <a:prstGeom prst="straightConnector1">
            <a:avLst/>
          </a:prstGeom>
          <a:ln w="381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3" name="Speech Bubble: Rectangle with Corners Rounded 32">
            <a:extLst>
              <a:ext uri="{FF2B5EF4-FFF2-40B4-BE49-F238E27FC236}">
                <a16:creationId xmlns:a16="http://schemas.microsoft.com/office/drawing/2014/main" id="{245642D6-8344-E738-2083-76CE944A8BEA}"/>
              </a:ext>
            </a:extLst>
          </p:cNvPr>
          <p:cNvSpPr/>
          <p:nvPr/>
        </p:nvSpPr>
        <p:spPr>
          <a:xfrm>
            <a:off x="551856" y="1170265"/>
            <a:ext cx="2279775" cy="2095328"/>
          </a:xfrm>
          <a:prstGeom prst="wedgeRoundRectCallout">
            <a:avLst>
              <a:gd name="adj1" fmla="val -7785"/>
              <a:gd name="adj2" fmla="val 82309"/>
              <a:gd name="adj3" fmla="val 1666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lstStyle/>
          <a:p>
            <a:pPr>
              <a:spcBef>
                <a:spcPts val="800"/>
              </a:spcBef>
            </a:pPr>
            <a:r>
              <a:rPr lang="en-US" sz="1600" dirty="0"/>
              <a:t>Firewalls, TLS</a:t>
            </a:r>
          </a:p>
          <a:p>
            <a:pPr algn="l">
              <a:spcBef>
                <a:spcPts val="800"/>
              </a:spcBef>
            </a:pPr>
            <a:r>
              <a:rPr lang="en-US" sz="1600" dirty="0"/>
              <a:t>Secure E/E arch.</a:t>
            </a:r>
          </a:p>
          <a:p>
            <a:pPr algn="l">
              <a:spcBef>
                <a:spcPts val="800"/>
              </a:spcBef>
            </a:pPr>
            <a:r>
              <a:rPr lang="en-US" sz="1600" dirty="0" err="1"/>
              <a:t>SecOC</a:t>
            </a:r>
            <a:endParaRPr lang="en-US" sz="1600" dirty="0"/>
          </a:p>
          <a:p>
            <a:pPr algn="l">
              <a:spcBef>
                <a:spcPts val="800"/>
              </a:spcBef>
            </a:pPr>
            <a:r>
              <a:rPr lang="en-US" sz="1600" dirty="0"/>
              <a:t>Key Management</a:t>
            </a:r>
          </a:p>
          <a:p>
            <a:pPr>
              <a:spcBef>
                <a:spcPts val="800"/>
              </a:spcBef>
            </a:pPr>
            <a:r>
              <a:rPr lang="en-US" sz="1600" dirty="0"/>
              <a:t>Secure boot</a:t>
            </a:r>
          </a:p>
        </p:txBody>
      </p:sp>
      <p:sp>
        <p:nvSpPr>
          <p:cNvPr id="35" name="Isosceles Triangle 34">
            <a:extLst>
              <a:ext uri="{FF2B5EF4-FFF2-40B4-BE49-F238E27FC236}">
                <a16:creationId xmlns:a16="http://schemas.microsoft.com/office/drawing/2014/main" id="{D68ECF94-C60A-F6B2-3BB9-9377D6200D8F}"/>
              </a:ext>
            </a:extLst>
          </p:cNvPr>
          <p:cNvSpPr/>
          <p:nvPr/>
        </p:nvSpPr>
        <p:spPr>
          <a:xfrm rot="17096962">
            <a:off x="4082584" y="2600132"/>
            <a:ext cx="369427" cy="474629"/>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lstStyle/>
          <a:p>
            <a:pPr algn="l">
              <a:spcBef>
                <a:spcPts val="800"/>
              </a:spcBef>
            </a:pPr>
            <a:endParaRPr lang="en-US" sz="1600" dirty="0" err="1"/>
          </a:p>
        </p:txBody>
      </p:sp>
      <p:sp>
        <p:nvSpPr>
          <p:cNvPr id="36" name="Isosceles Triangle 35">
            <a:extLst>
              <a:ext uri="{FF2B5EF4-FFF2-40B4-BE49-F238E27FC236}">
                <a16:creationId xmlns:a16="http://schemas.microsoft.com/office/drawing/2014/main" id="{19099FD6-019B-1FD1-89E9-69DF37B23A46}"/>
              </a:ext>
            </a:extLst>
          </p:cNvPr>
          <p:cNvSpPr/>
          <p:nvPr/>
        </p:nvSpPr>
        <p:spPr>
          <a:xfrm rot="4503038" flipH="1">
            <a:off x="6703328" y="2576817"/>
            <a:ext cx="369427" cy="474629"/>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lstStyle/>
          <a:p>
            <a:pPr algn="l">
              <a:spcBef>
                <a:spcPts val="800"/>
              </a:spcBef>
            </a:pPr>
            <a:endParaRPr lang="en-US" sz="1600" dirty="0" err="1"/>
          </a:p>
        </p:txBody>
      </p:sp>
      <p:sp>
        <p:nvSpPr>
          <p:cNvPr id="14" name="TextBox 13">
            <a:extLst>
              <a:ext uri="{FF2B5EF4-FFF2-40B4-BE49-F238E27FC236}">
                <a16:creationId xmlns:a16="http://schemas.microsoft.com/office/drawing/2014/main" id="{B479F158-C6F3-4995-B82F-6733E6662F01}"/>
              </a:ext>
            </a:extLst>
          </p:cNvPr>
          <p:cNvSpPr txBox="1"/>
          <p:nvPr/>
        </p:nvSpPr>
        <p:spPr>
          <a:xfrm>
            <a:off x="6601949" y="-1"/>
            <a:ext cx="3138292" cy="553998"/>
          </a:xfrm>
          <a:prstGeom prst="rect">
            <a:avLst/>
          </a:prstGeom>
          <a:noFill/>
        </p:spPr>
        <p:txBody>
          <a:bodyPr wrap="square" rtlCol="0">
            <a:spAutoFit/>
          </a:bodyPr>
          <a:lstStyle/>
          <a:p>
            <a:pPr algn="l"/>
            <a:r>
              <a:rPr lang="en-US" sz="1000" dirty="0"/>
              <a:t>SDV: Software-define vehicle</a:t>
            </a:r>
          </a:p>
          <a:p>
            <a:pPr algn="l"/>
            <a:r>
              <a:rPr lang="en-US" sz="1000" dirty="0"/>
              <a:t>TLS: Transport Layer Security</a:t>
            </a:r>
          </a:p>
          <a:p>
            <a:pPr algn="l"/>
            <a:r>
              <a:rPr lang="en-US" sz="1000" dirty="0" err="1"/>
              <a:t>SecOC</a:t>
            </a:r>
            <a:r>
              <a:rPr lang="en-US" sz="1000" dirty="0"/>
              <a:t>: Secure Onboard Communication</a:t>
            </a:r>
          </a:p>
        </p:txBody>
      </p:sp>
      <p:sp>
        <p:nvSpPr>
          <p:cNvPr id="18" name="IAV Vehicle">
            <a:extLst>
              <a:ext uri="{FF2B5EF4-FFF2-40B4-BE49-F238E27FC236}">
                <a16:creationId xmlns:a16="http://schemas.microsoft.com/office/drawing/2014/main" id="{B9BE9285-E232-912D-A594-73560968546D}"/>
              </a:ext>
            </a:extLst>
          </p:cNvPr>
          <p:cNvSpPr>
            <a:spLocks noChangeAspect="1" noEditPoints="1"/>
          </p:cNvSpPr>
          <p:nvPr/>
        </p:nvSpPr>
        <p:spPr bwMode="auto">
          <a:xfrm>
            <a:off x="719664" y="3776532"/>
            <a:ext cx="2917732" cy="1121569"/>
          </a:xfrm>
          <a:custGeom>
            <a:avLst/>
            <a:gdLst>
              <a:gd name="T0" fmla="*/ 652 w 783"/>
              <a:gd name="T1" fmla="*/ 176 h 301"/>
              <a:gd name="T2" fmla="*/ 590 w 783"/>
              <a:gd name="T3" fmla="*/ 238 h 301"/>
              <a:gd name="T4" fmla="*/ 652 w 783"/>
              <a:gd name="T5" fmla="*/ 301 h 301"/>
              <a:gd name="T6" fmla="*/ 715 w 783"/>
              <a:gd name="T7" fmla="*/ 238 h 301"/>
              <a:gd name="T8" fmla="*/ 652 w 783"/>
              <a:gd name="T9" fmla="*/ 176 h 301"/>
              <a:gd name="T10" fmla="*/ 652 w 783"/>
              <a:gd name="T11" fmla="*/ 278 h 301"/>
              <a:gd name="T12" fmla="*/ 613 w 783"/>
              <a:gd name="T13" fmla="*/ 238 h 301"/>
              <a:gd name="T14" fmla="*/ 652 w 783"/>
              <a:gd name="T15" fmla="*/ 199 h 301"/>
              <a:gd name="T16" fmla="*/ 692 w 783"/>
              <a:gd name="T17" fmla="*/ 238 h 301"/>
              <a:gd name="T18" fmla="*/ 652 w 783"/>
              <a:gd name="T19" fmla="*/ 278 h 301"/>
              <a:gd name="T20" fmla="*/ 142 w 783"/>
              <a:gd name="T21" fmla="*/ 176 h 301"/>
              <a:gd name="T22" fmla="*/ 80 w 783"/>
              <a:gd name="T23" fmla="*/ 238 h 301"/>
              <a:gd name="T24" fmla="*/ 142 w 783"/>
              <a:gd name="T25" fmla="*/ 301 h 301"/>
              <a:gd name="T26" fmla="*/ 204 w 783"/>
              <a:gd name="T27" fmla="*/ 238 h 301"/>
              <a:gd name="T28" fmla="*/ 142 w 783"/>
              <a:gd name="T29" fmla="*/ 176 h 301"/>
              <a:gd name="T30" fmla="*/ 142 w 783"/>
              <a:gd name="T31" fmla="*/ 278 h 301"/>
              <a:gd name="T32" fmla="*/ 102 w 783"/>
              <a:gd name="T33" fmla="*/ 238 h 301"/>
              <a:gd name="T34" fmla="*/ 142 w 783"/>
              <a:gd name="T35" fmla="*/ 199 h 301"/>
              <a:gd name="T36" fmla="*/ 182 w 783"/>
              <a:gd name="T37" fmla="*/ 238 h 301"/>
              <a:gd name="T38" fmla="*/ 142 w 783"/>
              <a:gd name="T39" fmla="*/ 278 h 301"/>
              <a:gd name="T40" fmla="*/ 572 w 783"/>
              <a:gd name="T41" fmla="*/ 89 h 301"/>
              <a:gd name="T42" fmla="*/ 543 w 783"/>
              <a:gd name="T43" fmla="*/ 73 h 301"/>
              <a:gd name="T44" fmla="*/ 415 w 783"/>
              <a:gd name="T45" fmla="*/ 17 h 301"/>
              <a:gd name="T46" fmla="*/ 176 w 783"/>
              <a:gd name="T47" fmla="*/ 50 h 301"/>
              <a:gd name="T48" fmla="*/ 39 w 783"/>
              <a:gd name="T49" fmla="*/ 88 h 301"/>
              <a:gd name="T50" fmla="*/ 35 w 783"/>
              <a:gd name="T51" fmla="*/ 90 h 301"/>
              <a:gd name="T52" fmla="*/ 0 w 783"/>
              <a:gd name="T53" fmla="*/ 250 h 301"/>
              <a:gd name="T54" fmla="*/ 6 w 783"/>
              <a:gd name="T55" fmla="*/ 256 h 301"/>
              <a:gd name="T56" fmla="*/ 71 w 783"/>
              <a:gd name="T57" fmla="*/ 256 h 301"/>
              <a:gd name="T58" fmla="*/ 68 w 783"/>
              <a:gd name="T59" fmla="*/ 238 h 301"/>
              <a:gd name="T60" fmla="*/ 142 w 783"/>
              <a:gd name="T61" fmla="*/ 165 h 301"/>
              <a:gd name="T62" fmla="*/ 216 w 783"/>
              <a:gd name="T63" fmla="*/ 238 h 301"/>
              <a:gd name="T64" fmla="*/ 213 w 783"/>
              <a:gd name="T65" fmla="*/ 257 h 301"/>
              <a:gd name="T66" fmla="*/ 582 w 783"/>
              <a:gd name="T67" fmla="*/ 260 h 301"/>
              <a:gd name="T68" fmla="*/ 579 w 783"/>
              <a:gd name="T69" fmla="*/ 238 h 301"/>
              <a:gd name="T70" fmla="*/ 652 w 783"/>
              <a:gd name="T71" fmla="*/ 165 h 301"/>
              <a:gd name="T72" fmla="*/ 726 w 783"/>
              <a:gd name="T73" fmla="*/ 238 h 301"/>
              <a:gd name="T74" fmla="*/ 723 w 783"/>
              <a:gd name="T75" fmla="*/ 261 h 301"/>
              <a:gd name="T76" fmla="*/ 777 w 783"/>
              <a:gd name="T77" fmla="*/ 261 h 301"/>
              <a:gd name="T78" fmla="*/ 777 w 783"/>
              <a:gd name="T79" fmla="*/ 261 h 301"/>
              <a:gd name="T80" fmla="*/ 781 w 783"/>
              <a:gd name="T81" fmla="*/ 259 h 301"/>
              <a:gd name="T82" fmla="*/ 783 w 783"/>
              <a:gd name="T83" fmla="*/ 255 h 301"/>
              <a:gd name="T84" fmla="*/ 572 w 783"/>
              <a:gd name="T85" fmla="*/ 89 h 301"/>
              <a:gd name="T86" fmla="*/ 505 w 783"/>
              <a:gd name="T87" fmla="*/ 108 h 301"/>
              <a:gd name="T88" fmla="*/ 165 w 783"/>
              <a:gd name="T89" fmla="*/ 88 h 301"/>
              <a:gd name="T90" fmla="*/ 369 w 783"/>
              <a:gd name="T91" fmla="*/ 29 h 301"/>
              <a:gd name="T92" fmla="*/ 505 w 783"/>
              <a:gd name="T93" fmla="*/ 108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83" h="301">
                <a:moveTo>
                  <a:pt x="652" y="176"/>
                </a:moveTo>
                <a:cubicBezTo>
                  <a:pt x="618" y="176"/>
                  <a:pt x="590" y="204"/>
                  <a:pt x="590" y="238"/>
                </a:cubicBezTo>
                <a:cubicBezTo>
                  <a:pt x="590" y="273"/>
                  <a:pt x="618" y="301"/>
                  <a:pt x="652" y="301"/>
                </a:cubicBezTo>
                <a:cubicBezTo>
                  <a:pt x="687" y="301"/>
                  <a:pt x="715" y="273"/>
                  <a:pt x="715" y="238"/>
                </a:cubicBezTo>
                <a:cubicBezTo>
                  <a:pt x="715" y="204"/>
                  <a:pt x="687" y="176"/>
                  <a:pt x="652" y="176"/>
                </a:cubicBezTo>
                <a:close/>
                <a:moveTo>
                  <a:pt x="652" y="278"/>
                </a:moveTo>
                <a:cubicBezTo>
                  <a:pt x="630" y="278"/>
                  <a:pt x="613" y="260"/>
                  <a:pt x="613" y="238"/>
                </a:cubicBezTo>
                <a:cubicBezTo>
                  <a:pt x="613" y="217"/>
                  <a:pt x="630" y="199"/>
                  <a:pt x="652" y="199"/>
                </a:cubicBezTo>
                <a:cubicBezTo>
                  <a:pt x="674" y="199"/>
                  <a:pt x="692" y="217"/>
                  <a:pt x="692" y="238"/>
                </a:cubicBezTo>
                <a:cubicBezTo>
                  <a:pt x="692" y="260"/>
                  <a:pt x="674" y="278"/>
                  <a:pt x="652" y="278"/>
                </a:cubicBezTo>
                <a:close/>
                <a:moveTo>
                  <a:pt x="142" y="176"/>
                </a:moveTo>
                <a:cubicBezTo>
                  <a:pt x="108" y="176"/>
                  <a:pt x="80" y="204"/>
                  <a:pt x="80" y="238"/>
                </a:cubicBezTo>
                <a:cubicBezTo>
                  <a:pt x="80" y="273"/>
                  <a:pt x="108" y="301"/>
                  <a:pt x="142" y="301"/>
                </a:cubicBezTo>
                <a:cubicBezTo>
                  <a:pt x="176" y="301"/>
                  <a:pt x="204" y="273"/>
                  <a:pt x="204" y="238"/>
                </a:cubicBezTo>
                <a:cubicBezTo>
                  <a:pt x="204" y="204"/>
                  <a:pt x="176" y="176"/>
                  <a:pt x="142" y="176"/>
                </a:cubicBezTo>
                <a:close/>
                <a:moveTo>
                  <a:pt x="142" y="278"/>
                </a:moveTo>
                <a:cubicBezTo>
                  <a:pt x="120" y="278"/>
                  <a:pt x="102" y="260"/>
                  <a:pt x="102" y="238"/>
                </a:cubicBezTo>
                <a:cubicBezTo>
                  <a:pt x="102" y="217"/>
                  <a:pt x="120" y="199"/>
                  <a:pt x="142" y="199"/>
                </a:cubicBezTo>
                <a:cubicBezTo>
                  <a:pt x="164" y="199"/>
                  <a:pt x="182" y="217"/>
                  <a:pt x="182" y="238"/>
                </a:cubicBezTo>
                <a:cubicBezTo>
                  <a:pt x="182" y="260"/>
                  <a:pt x="164" y="278"/>
                  <a:pt x="142" y="278"/>
                </a:cubicBezTo>
                <a:close/>
                <a:moveTo>
                  <a:pt x="572" y="89"/>
                </a:moveTo>
                <a:cubicBezTo>
                  <a:pt x="568" y="88"/>
                  <a:pt x="557" y="81"/>
                  <a:pt x="543" y="73"/>
                </a:cubicBezTo>
                <a:cubicBezTo>
                  <a:pt x="512" y="55"/>
                  <a:pt x="466" y="28"/>
                  <a:pt x="415" y="17"/>
                </a:cubicBezTo>
                <a:cubicBezTo>
                  <a:pt x="332" y="0"/>
                  <a:pt x="260" y="23"/>
                  <a:pt x="176" y="50"/>
                </a:cubicBezTo>
                <a:cubicBezTo>
                  <a:pt x="133" y="64"/>
                  <a:pt x="89" y="78"/>
                  <a:pt x="39" y="88"/>
                </a:cubicBezTo>
                <a:cubicBezTo>
                  <a:pt x="37" y="88"/>
                  <a:pt x="36" y="89"/>
                  <a:pt x="35" y="90"/>
                </a:cubicBezTo>
                <a:cubicBezTo>
                  <a:pt x="34" y="93"/>
                  <a:pt x="0" y="146"/>
                  <a:pt x="0" y="250"/>
                </a:cubicBezTo>
                <a:cubicBezTo>
                  <a:pt x="0" y="253"/>
                  <a:pt x="3" y="256"/>
                  <a:pt x="6" y="256"/>
                </a:cubicBezTo>
                <a:cubicBezTo>
                  <a:pt x="71" y="256"/>
                  <a:pt x="71" y="256"/>
                  <a:pt x="71" y="256"/>
                </a:cubicBezTo>
                <a:cubicBezTo>
                  <a:pt x="69" y="251"/>
                  <a:pt x="68" y="245"/>
                  <a:pt x="68" y="238"/>
                </a:cubicBezTo>
                <a:cubicBezTo>
                  <a:pt x="68" y="198"/>
                  <a:pt x="101" y="165"/>
                  <a:pt x="142" y="165"/>
                </a:cubicBezTo>
                <a:cubicBezTo>
                  <a:pt x="183" y="165"/>
                  <a:pt x="216" y="198"/>
                  <a:pt x="216" y="238"/>
                </a:cubicBezTo>
                <a:cubicBezTo>
                  <a:pt x="216" y="245"/>
                  <a:pt x="215" y="251"/>
                  <a:pt x="213" y="257"/>
                </a:cubicBezTo>
                <a:cubicBezTo>
                  <a:pt x="582" y="260"/>
                  <a:pt x="582" y="260"/>
                  <a:pt x="582" y="260"/>
                </a:cubicBezTo>
                <a:cubicBezTo>
                  <a:pt x="580" y="253"/>
                  <a:pt x="579" y="246"/>
                  <a:pt x="579" y="238"/>
                </a:cubicBezTo>
                <a:cubicBezTo>
                  <a:pt x="579" y="198"/>
                  <a:pt x="612" y="165"/>
                  <a:pt x="652" y="165"/>
                </a:cubicBezTo>
                <a:cubicBezTo>
                  <a:pt x="693" y="165"/>
                  <a:pt x="726" y="198"/>
                  <a:pt x="726" y="238"/>
                </a:cubicBezTo>
                <a:cubicBezTo>
                  <a:pt x="726" y="246"/>
                  <a:pt x="725" y="254"/>
                  <a:pt x="723" y="261"/>
                </a:cubicBezTo>
                <a:cubicBezTo>
                  <a:pt x="777" y="261"/>
                  <a:pt x="777" y="261"/>
                  <a:pt x="777" y="261"/>
                </a:cubicBezTo>
                <a:cubicBezTo>
                  <a:pt x="777" y="261"/>
                  <a:pt x="777" y="261"/>
                  <a:pt x="777" y="261"/>
                </a:cubicBezTo>
                <a:cubicBezTo>
                  <a:pt x="778" y="261"/>
                  <a:pt x="780" y="261"/>
                  <a:pt x="781" y="259"/>
                </a:cubicBezTo>
                <a:cubicBezTo>
                  <a:pt x="782" y="258"/>
                  <a:pt x="783" y="257"/>
                  <a:pt x="783" y="255"/>
                </a:cubicBezTo>
                <a:cubicBezTo>
                  <a:pt x="783" y="147"/>
                  <a:pt x="766" y="122"/>
                  <a:pt x="572" y="89"/>
                </a:cubicBezTo>
                <a:close/>
                <a:moveTo>
                  <a:pt x="505" y="108"/>
                </a:moveTo>
                <a:cubicBezTo>
                  <a:pt x="459" y="119"/>
                  <a:pt x="165" y="88"/>
                  <a:pt x="165" y="88"/>
                </a:cubicBezTo>
                <a:cubicBezTo>
                  <a:pt x="165" y="88"/>
                  <a:pt x="279" y="29"/>
                  <a:pt x="369" y="29"/>
                </a:cubicBezTo>
                <a:cubicBezTo>
                  <a:pt x="449" y="29"/>
                  <a:pt x="546" y="98"/>
                  <a:pt x="505" y="10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grpSp>
        <p:nvGrpSpPr>
          <p:cNvPr id="19" name="easyIcon">
            <a:extLst>
              <a:ext uri="{FF2B5EF4-FFF2-40B4-BE49-F238E27FC236}">
                <a16:creationId xmlns:a16="http://schemas.microsoft.com/office/drawing/2014/main" id="{146F4E9F-546D-0F5E-AC75-884BFCBEAC57}"/>
              </a:ext>
            </a:extLst>
          </p:cNvPr>
          <p:cNvGrpSpPr>
            <a:grpSpLocks noChangeAspect="1"/>
          </p:cNvGrpSpPr>
          <p:nvPr>
            <p:custDataLst>
              <p:tags r:id="rId1"/>
            </p:custDataLst>
          </p:nvPr>
        </p:nvGrpSpPr>
        <p:grpSpPr>
          <a:xfrm>
            <a:off x="3503460" y="-432321"/>
            <a:ext cx="4525036" cy="4525036"/>
            <a:chOff x="264263" y="4620411"/>
            <a:chExt cx="1524000" cy="1524000"/>
          </a:xfrm>
        </p:grpSpPr>
        <p:sp>
          <p:nvSpPr>
            <p:cNvPr id="20" name="backgroundFixed">
              <a:extLst>
                <a:ext uri="{FF2B5EF4-FFF2-40B4-BE49-F238E27FC236}">
                  <a16:creationId xmlns:a16="http://schemas.microsoft.com/office/drawing/2014/main" id="{2954D470-2D9F-7631-EF69-0D358DDBF187}"/>
                </a:ext>
              </a:extLst>
            </p:cNvPr>
            <p:cNvSpPr/>
            <p:nvPr>
              <p:custDataLst>
                <p:tags r:id="rId4"/>
              </p:custDataLst>
            </p:nvPr>
          </p:nvSpPr>
          <p:spPr>
            <a:xfrm>
              <a:off x="264263" y="4620411"/>
              <a:ext cx="1524000" cy="1524000"/>
            </a:xfrm>
            <a:prstGeom prst="rect">
              <a:avLst/>
            </a:prstGeom>
            <a:noFill/>
            <a:ln w="6350" cap="flat" cmpd="sng" algn="ctr">
              <a:noFill/>
              <a:prstDash val="solid"/>
              <a:round/>
              <a:headEnd type="none" w="med" len="med"/>
              <a:tailEnd type="none" w="med" len="med"/>
            </a:ln>
            <a:effectLst/>
            <a:extLst>
              <a:ext uri="{909E8E84-426E-40DD-AFC4-6F175D3DCCD1}">
                <a14:hiddenFill xmlns:a14="http://schemas.microsoft.com/office/drawing/2010/main">
                  <a:solidFill>
                    <a:srgbClr val="52C9FF"/>
                  </a:solidFill>
                </a14:hiddenFill>
              </a:ext>
              <a:ext uri="{91240B29-F687-4F45-9708-019B960494DF}">
                <a14:hiddenLine xmlns:a14="http://schemas.microsoft.com/office/drawing/2010/main" w="6350" cap="flat" cmpd="sng" algn="ctr">
                  <a:solidFill>
                    <a:srgbClr val="52C9F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108000" numCol="1" spcCol="0" rtlCol="0" fromWordArt="0" anchor="t" anchorCtr="0" forceAA="0" compatLnSpc="1">
              <a:prstTxWarp prst="textNoShape">
                <a:avLst/>
              </a:prstTxWarp>
              <a:noAutofit/>
            </a:bodyPr>
            <a:lstStyle/>
            <a:p>
              <a:pPr algn="l"/>
              <a:endParaRPr lang="en-US" sz="1400" b="1" dirty="0">
                <a:solidFill>
                  <a:schemeClr val="bg1"/>
                </a:solidFill>
              </a:endParaRPr>
            </a:p>
          </p:txBody>
        </p:sp>
        <p:pic>
          <p:nvPicPr>
            <p:cNvPr id="22" name="Vector">
              <a:extLst>
                <a:ext uri="{FF2B5EF4-FFF2-40B4-BE49-F238E27FC236}">
                  <a16:creationId xmlns:a16="http://schemas.microsoft.com/office/drawing/2014/main" id="{A4D809E9-F18B-D0F7-7B7A-38CB1E953BE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bwMode="gray">
            <a:xfrm>
              <a:off x="264263" y="4620411"/>
              <a:ext cx="1524000" cy="1524000"/>
            </a:xfrm>
            <a:prstGeom prst="rect">
              <a:avLst/>
            </a:prstGeom>
          </p:spPr>
        </p:pic>
      </p:grpSp>
      <p:grpSp>
        <p:nvGrpSpPr>
          <p:cNvPr id="23" name="easyIcon">
            <a:extLst>
              <a:ext uri="{FF2B5EF4-FFF2-40B4-BE49-F238E27FC236}">
                <a16:creationId xmlns:a16="http://schemas.microsoft.com/office/drawing/2014/main" id="{16D7F4FA-3B04-A93A-027A-23D26ACB47DF}"/>
              </a:ext>
            </a:extLst>
          </p:cNvPr>
          <p:cNvGrpSpPr>
            <a:grpSpLocks noChangeAspect="1"/>
          </p:cNvGrpSpPr>
          <p:nvPr>
            <p:custDataLst>
              <p:tags r:id="rId2"/>
            </p:custDataLst>
          </p:nvPr>
        </p:nvGrpSpPr>
        <p:grpSpPr>
          <a:xfrm>
            <a:off x="8028496" y="2628019"/>
            <a:ext cx="2663988" cy="2663988"/>
            <a:chOff x="5925840" y="4248419"/>
            <a:chExt cx="720000" cy="720000"/>
          </a:xfrm>
        </p:grpSpPr>
        <p:sp>
          <p:nvSpPr>
            <p:cNvPr id="24" name="backgroundFixed">
              <a:extLst>
                <a:ext uri="{FF2B5EF4-FFF2-40B4-BE49-F238E27FC236}">
                  <a16:creationId xmlns:a16="http://schemas.microsoft.com/office/drawing/2014/main" id="{01A3D6C5-22A6-3BBE-B7D5-ED09B5013F36}"/>
                </a:ext>
              </a:extLst>
            </p:cNvPr>
            <p:cNvSpPr/>
            <p:nvPr>
              <p:custDataLst>
                <p:tags r:id="rId3"/>
              </p:custDataLst>
            </p:nvPr>
          </p:nvSpPr>
          <p:spPr>
            <a:xfrm>
              <a:off x="5925840" y="4248419"/>
              <a:ext cx="720000" cy="720000"/>
            </a:xfrm>
            <a:prstGeom prst="rect">
              <a:avLst/>
            </a:prstGeom>
            <a:noFill/>
            <a:ln w="6350" cap="flat" cmpd="sng" algn="ctr">
              <a:noFill/>
              <a:prstDash val="solid"/>
              <a:round/>
              <a:headEnd type="none" w="med" len="med"/>
              <a:tailEnd type="none" w="med" len="med"/>
            </a:ln>
            <a:effectLst/>
            <a:extLst>
              <a:ext uri="{909E8E84-426E-40DD-AFC4-6F175D3DCCD1}">
                <a14:hiddenFill xmlns:a14="http://schemas.microsoft.com/office/drawing/2010/main">
                  <a:solidFill>
                    <a:srgbClr val="52C9FF"/>
                  </a:solidFill>
                </a14:hiddenFill>
              </a:ext>
              <a:ext uri="{91240B29-F687-4F45-9708-019B960494DF}">
                <a14:hiddenLine xmlns:a14="http://schemas.microsoft.com/office/drawing/2010/main" w="6350" cap="flat" cmpd="sng" algn="ctr">
                  <a:solidFill>
                    <a:srgbClr val="52C9F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108000" numCol="1" spcCol="0" rtlCol="0" fromWordArt="0" anchor="t" anchorCtr="0" forceAA="0" compatLnSpc="1">
              <a:prstTxWarp prst="textNoShape">
                <a:avLst/>
              </a:prstTxWarp>
              <a:noAutofit/>
            </a:bodyPr>
            <a:lstStyle/>
            <a:p>
              <a:pPr algn="l"/>
              <a:endParaRPr lang="en-US" sz="1400" b="1" dirty="0">
                <a:solidFill>
                  <a:schemeClr val="bg1"/>
                </a:solidFill>
              </a:endParaRPr>
            </a:p>
          </p:txBody>
        </p:sp>
        <p:pic>
          <p:nvPicPr>
            <p:cNvPr id="25" name="Vector">
              <a:extLst>
                <a:ext uri="{FF2B5EF4-FFF2-40B4-BE49-F238E27FC236}">
                  <a16:creationId xmlns:a16="http://schemas.microsoft.com/office/drawing/2014/main" id="{2B2EE963-6B06-A5E5-BB26-11CEACBCFC4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bwMode="gray">
            <a:xfrm>
              <a:off x="5925840" y="4248419"/>
              <a:ext cx="720000" cy="720000"/>
            </a:xfrm>
            <a:prstGeom prst="rect">
              <a:avLst/>
            </a:prstGeom>
          </p:spPr>
        </p:pic>
      </p:grpSp>
    </p:spTree>
    <p:extLst>
      <p:ext uri="{BB962C8B-B14F-4D97-AF65-F5344CB8AC3E}">
        <p14:creationId xmlns:p14="http://schemas.microsoft.com/office/powerpoint/2010/main" val="151244860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9382AEA-8EED-FBC9-CA3B-69D009487CD2}"/>
              </a:ext>
            </a:extLst>
          </p:cNvPr>
          <p:cNvSpPr>
            <a:spLocks noGrp="1"/>
          </p:cNvSpPr>
          <p:nvPr>
            <p:ph type="title"/>
          </p:nvPr>
        </p:nvSpPr>
        <p:spPr/>
        <p:txBody>
          <a:bodyPr/>
          <a:lstStyle/>
          <a:p>
            <a:r>
              <a:rPr lang="en-US" dirty="0"/>
              <a:t>Secure End-to-End Lifecycle</a:t>
            </a:r>
          </a:p>
        </p:txBody>
      </p:sp>
      <p:sp>
        <p:nvSpPr>
          <p:cNvPr id="6" name="Slide Number Placeholder 5">
            <a:extLst>
              <a:ext uri="{FF2B5EF4-FFF2-40B4-BE49-F238E27FC236}">
                <a16:creationId xmlns:a16="http://schemas.microsoft.com/office/drawing/2014/main" id="{9E7BFF56-A148-215B-D6D0-B49C9C487524}"/>
              </a:ext>
            </a:extLst>
          </p:cNvPr>
          <p:cNvSpPr>
            <a:spLocks noGrp="1"/>
          </p:cNvSpPr>
          <p:nvPr>
            <p:ph type="sldNum" sz="quarter" idx="11"/>
          </p:nvPr>
        </p:nvSpPr>
        <p:spPr/>
        <p:txBody>
          <a:bodyPr/>
          <a:lstStyle/>
          <a:p>
            <a:fld id="{C651C7C4-31E4-E340-822E-DEA0EA75A835}" type="slidenum">
              <a:rPr lang="en-US" smtClean="0"/>
              <a:pPr/>
              <a:t>11</a:t>
            </a:fld>
            <a:endParaRPr lang="en-US" dirty="0"/>
          </a:p>
        </p:txBody>
      </p:sp>
      <p:sp>
        <p:nvSpPr>
          <p:cNvPr id="8" name="Oval 7">
            <a:extLst>
              <a:ext uri="{FF2B5EF4-FFF2-40B4-BE49-F238E27FC236}">
                <a16:creationId xmlns:a16="http://schemas.microsoft.com/office/drawing/2014/main" id="{78EC544F-B424-5295-AFF2-EAC043C6C1BD}"/>
              </a:ext>
            </a:extLst>
          </p:cNvPr>
          <p:cNvSpPr/>
          <p:nvPr/>
        </p:nvSpPr>
        <p:spPr>
          <a:xfrm>
            <a:off x="4895354" y="4212851"/>
            <a:ext cx="2017018" cy="2017018"/>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spcBef>
                <a:spcPts val="1600"/>
              </a:spcBef>
            </a:pPr>
            <a:endParaRPr lang="en-US" sz="1600" dirty="0"/>
          </a:p>
        </p:txBody>
      </p:sp>
      <p:sp>
        <p:nvSpPr>
          <p:cNvPr id="9" name="Block Arc 8">
            <a:extLst>
              <a:ext uri="{FF2B5EF4-FFF2-40B4-BE49-F238E27FC236}">
                <a16:creationId xmlns:a16="http://schemas.microsoft.com/office/drawing/2014/main" id="{80C2C369-A2DE-F5C5-A088-52D50185FDA9}"/>
              </a:ext>
            </a:extLst>
          </p:cNvPr>
          <p:cNvSpPr/>
          <p:nvPr/>
        </p:nvSpPr>
        <p:spPr>
          <a:xfrm>
            <a:off x="3580949" y="2898446"/>
            <a:ext cx="4645828" cy="4645828"/>
          </a:xfrm>
          <a:prstGeom prst="blockArc">
            <a:avLst>
              <a:gd name="adj1" fmla="val 8868553"/>
              <a:gd name="adj2" fmla="val 1961016"/>
              <a:gd name="adj3" fmla="val 25173"/>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lstStyle/>
          <a:p>
            <a:pPr algn="l">
              <a:spcBef>
                <a:spcPts val="800"/>
              </a:spcBef>
            </a:pPr>
            <a:endParaRPr lang="en-US" sz="1600" dirty="0" err="1">
              <a:solidFill>
                <a:schemeClr val="tx1"/>
              </a:solidFill>
            </a:endParaRPr>
          </a:p>
        </p:txBody>
      </p:sp>
      <p:cxnSp>
        <p:nvCxnSpPr>
          <p:cNvPr id="11" name="Straight Connector 10">
            <a:extLst>
              <a:ext uri="{FF2B5EF4-FFF2-40B4-BE49-F238E27FC236}">
                <a16:creationId xmlns:a16="http://schemas.microsoft.com/office/drawing/2014/main" id="{34D20A8C-F8E9-51B3-A61C-B14BD137AEED}"/>
              </a:ext>
            </a:extLst>
          </p:cNvPr>
          <p:cNvCxnSpPr>
            <a:cxnSpLocks/>
            <a:endCxn id="8" idx="1"/>
          </p:cNvCxnSpPr>
          <p:nvPr/>
        </p:nvCxnSpPr>
        <p:spPr>
          <a:xfrm>
            <a:off x="2483880" y="1623936"/>
            <a:ext cx="2706859" cy="28843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65034B17-5AF1-3731-AE16-CD7D3BF609FF}"/>
              </a:ext>
            </a:extLst>
          </p:cNvPr>
          <p:cNvCxnSpPr>
            <a:cxnSpLocks/>
          </p:cNvCxnSpPr>
          <p:nvPr/>
        </p:nvCxnSpPr>
        <p:spPr>
          <a:xfrm flipV="1">
            <a:off x="6616987" y="1623936"/>
            <a:ext cx="2706859" cy="28843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550CA908-73AB-9516-8F31-DABBFC3B5ED2}"/>
              </a:ext>
            </a:extLst>
          </p:cNvPr>
          <p:cNvSpPr txBox="1"/>
          <p:nvPr/>
        </p:nvSpPr>
        <p:spPr>
          <a:xfrm>
            <a:off x="4903502" y="3349782"/>
            <a:ext cx="2347824" cy="666336"/>
          </a:xfrm>
          <a:prstGeom prst="rect">
            <a:avLst/>
          </a:prstGeom>
          <a:noFill/>
        </p:spPr>
        <p:txBody>
          <a:bodyPr wrap="square" lIns="0" tIns="0" rIns="0" bIns="0" rtlCol="0">
            <a:spAutoFit/>
          </a:bodyPr>
          <a:lstStyle/>
          <a:p>
            <a:pPr marL="176213" indent="-176213" algn="l">
              <a:lnSpc>
                <a:spcPct val="120000"/>
              </a:lnSpc>
              <a:spcBef>
                <a:spcPts val="800"/>
              </a:spcBef>
              <a:buFont typeface="Arial" panose="020B0604020202020204" pitchFamily="34" charset="0"/>
              <a:buChar char="•"/>
            </a:pPr>
            <a:r>
              <a:rPr lang="en-US" sz="1600" dirty="0" err="1"/>
              <a:t>DevSecOps</a:t>
            </a:r>
            <a:r>
              <a:rPr lang="en-US" sz="1600" dirty="0"/>
              <a:t> – CI/CD</a:t>
            </a:r>
          </a:p>
          <a:p>
            <a:pPr marL="176213" indent="-176213" algn="l">
              <a:lnSpc>
                <a:spcPct val="120000"/>
              </a:lnSpc>
              <a:spcBef>
                <a:spcPts val="800"/>
              </a:spcBef>
              <a:buFont typeface="Arial" panose="020B0604020202020204" pitchFamily="34" charset="0"/>
              <a:buChar char="•"/>
            </a:pPr>
            <a:r>
              <a:rPr lang="en-US" sz="1600" dirty="0"/>
              <a:t>AI tooling</a:t>
            </a:r>
          </a:p>
        </p:txBody>
      </p:sp>
      <p:sp>
        <p:nvSpPr>
          <p:cNvPr id="17" name="TextBox 16">
            <a:extLst>
              <a:ext uri="{FF2B5EF4-FFF2-40B4-BE49-F238E27FC236}">
                <a16:creationId xmlns:a16="http://schemas.microsoft.com/office/drawing/2014/main" id="{4F6F756A-3A10-0BA8-5D6D-0F2210C4A2C9}"/>
              </a:ext>
            </a:extLst>
          </p:cNvPr>
          <p:cNvSpPr txBox="1"/>
          <p:nvPr/>
        </p:nvSpPr>
        <p:spPr>
          <a:xfrm>
            <a:off x="3580948" y="1506927"/>
            <a:ext cx="2503332" cy="1292662"/>
          </a:xfrm>
          <a:prstGeom prst="rect">
            <a:avLst/>
          </a:prstGeom>
          <a:noFill/>
        </p:spPr>
        <p:txBody>
          <a:bodyPr wrap="square" lIns="0" tIns="0" rIns="0" bIns="0" numCol="1" rtlCol="0">
            <a:spAutoFit/>
          </a:bodyPr>
          <a:lstStyle/>
          <a:p>
            <a:pPr marL="285750" indent="-285750" algn="l">
              <a:spcBef>
                <a:spcPts val="800"/>
              </a:spcBef>
              <a:buFont typeface="Arial" panose="020B0604020202020204" pitchFamily="34" charset="0"/>
              <a:buChar char="•"/>
            </a:pPr>
            <a:r>
              <a:rPr lang="en-US" sz="1600" dirty="0"/>
              <a:t>Digital Vehicle Key</a:t>
            </a:r>
          </a:p>
          <a:p>
            <a:pPr marL="285750" indent="-285750" algn="l">
              <a:spcBef>
                <a:spcPts val="800"/>
              </a:spcBef>
              <a:buFont typeface="Arial" panose="020B0604020202020204" pitchFamily="34" charset="0"/>
              <a:buChar char="•"/>
            </a:pPr>
            <a:r>
              <a:rPr lang="en-US" sz="1600" dirty="0"/>
              <a:t>Key Management</a:t>
            </a:r>
          </a:p>
          <a:p>
            <a:pPr marL="285750" indent="-285750" algn="l">
              <a:spcBef>
                <a:spcPts val="800"/>
              </a:spcBef>
              <a:buFont typeface="Arial" panose="020B0604020202020204" pitchFamily="34" charset="0"/>
              <a:buChar char="•"/>
            </a:pPr>
            <a:r>
              <a:rPr lang="en-US" sz="1600" dirty="0" err="1"/>
              <a:t>SecOC</a:t>
            </a:r>
            <a:endParaRPr lang="en-US" sz="1600" dirty="0"/>
          </a:p>
          <a:p>
            <a:pPr marL="285750" indent="-285750" algn="l">
              <a:spcBef>
                <a:spcPts val="800"/>
              </a:spcBef>
              <a:buFont typeface="Arial" panose="020B0604020202020204" pitchFamily="34" charset="0"/>
              <a:buChar char="•"/>
            </a:pPr>
            <a:r>
              <a:rPr lang="en-US" sz="1600" dirty="0"/>
              <a:t>End-to-End Encryption</a:t>
            </a:r>
          </a:p>
        </p:txBody>
      </p:sp>
      <p:sp>
        <p:nvSpPr>
          <p:cNvPr id="18" name="Rectangle: Rounded Corners 17">
            <a:extLst>
              <a:ext uri="{FF2B5EF4-FFF2-40B4-BE49-F238E27FC236}">
                <a16:creationId xmlns:a16="http://schemas.microsoft.com/office/drawing/2014/main" id="{29B97B41-F855-8C5C-F1A7-3035EEFC94B9}"/>
              </a:ext>
            </a:extLst>
          </p:cNvPr>
          <p:cNvSpPr/>
          <p:nvPr/>
        </p:nvSpPr>
        <p:spPr>
          <a:xfrm>
            <a:off x="3580949" y="1023776"/>
            <a:ext cx="4578382" cy="382690"/>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54864" rIns="144000" bIns="144000" rtlCol="0" anchor="t"/>
          <a:lstStyle/>
          <a:p>
            <a:pPr algn="ctr">
              <a:spcBef>
                <a:spcPts val="800"/>
              </a:spcBef>
            </a:pPr>
            <a:r>
              <a:rPr lang="en-US" sz="1600" dirty="0"/>
              <a:t>Security Functions</a:t>
            </a:r>
          </a:p>
        </p:txBody>
      </p:sp>
      <p:sp>
        <p:nvSpPr>
          <p:cNvPr id="20" name="TextBox 19">
            <a:extLst>
              <a:ext uri="{FF2B5EF4-FFF2-40B4-BE49-F238E27FC236}">
                <a16:creationId xmlns:a16="http://schemas.microsoft.com/office/drawing/2014/main" id="{6C0C0DA1-0638-E92A-8AE0-67801888A2AE}"/>
              </a:ext>
            </a:extLst>
          </p:cNvPr>
          <p:cNvSpPr txBox="1"/>
          <p:nvPr/>
        </p:nvSpPr>
        <p:spPr>
          <a:xfrm>
            <a:off x="5996816" y="1506927"/>
            <a:ext cx="2427724" cy="1292662"/>
          </a:xfrm>
          <a:prstGeom prst="rect">
            <a:avLst/>
          </a:prstGeom>
          <a:noFill/>
        </p:spPr>
        <p:txBody>
          <a:bodyPr wrap="square" lIns="0" tIns="0" rIns="0" bIns="0" numCol="1" rtlCol="0">
            <a:spAutoFit/>
          </a:bodyPr>
          <a:lstStyle/>
          <a:p>
            <a:pPr marL="285750" indent="-285750" algn="l">
              <a:spcBef>
                <a:spcPts val="800"/>
              </a:spcBef>
              <a:buFont typeface="Arial" panose="020B0604020202020204" pitchFamily="34" charset="0"/>
              <a:buChar char="•"/>
            </a:pPr>
            <a:r>
              <a:rPr lang="en-US" sz="1600" dirty="0"/>
              <a:t>IDS</a:t>
            </a:r>
          </a:p>
          <a:p>
            <a:pPr marL="285750" indent="-285750" algn="l">
              <a:spcBef>
                <a:spcPts val="800"/>
              </a:spcBef>
              <a:buFont typeface="Arial" panose="020B0604020202020204" pitchFamily="34" charset="0"/>
              <a:buChar char="•"/>
            </a:pPr>
            <a:r>
              <a:rPr lang="en-US" sz="1600" dirty="0"/>
              <a:t>Secure Boot</a:t>
            </a:r>
          </a:p>
          <a:p>
            <a:pPr marL="285750" indent="-285750" algn="l">
              <a:spcBef>
                <a:spcPts val="800"/>
              </a:spcBef>
              <a:buFont typeface="Arial" panose="020B0604020202020204" pitchFamily="34" charset="0"/>
              <a:buChar char="•"/>
            </a:pPr>
            <a:r>
              <a:rPr lang="en-US" sz="1600" dirty="0"/>
              <a:t>Secure Communication</a:t>
            </a:r>
          </a:p>
          <a:p>
            <a:pPr marL="285750" indent="-285750" algn="l">
              <a:spcBef>
                <a:spcPts val="800"/>
              </a:spcBef>
              <a:buFont typeface="Arial" panose="020B0604020202020204" pitchFamily="34" charset="0"/>
              <a:buChar char="•"/>
            </a:pPr>
            <a:r>
              <a:rPr lang="en-US" sz="1600" dirty="0"/>
              <a:t>Secure APIs</a:t>
            </a:r>
          </a:p>
        </p:txBody>
      </p:sp>
      <p:sp>
        <p:nvSpPr>
          <p:cNvPr id="21" name="TextBox 20">
            <a:extLst>
              <a:ext uri="{FF2B5EF4-FFF2-40B4-BE49-F238E27FC236}">
                <a16:creationId xmlns:a16="http://schemas.microsoft.com/office/drawing/2014/main" id="{04A95B6A-5E27-007E-2672-0ED6AABB1531}"/>
              </a:ext>
            </a:extLst>
          </p:cNvPr>
          <p:cNvSpPr txBox="1"/>
          <p:nvPr/>
        </p:nvSpPr>
        <p:spPr>
          <a:xfrm>
            <a:off x="7117059" y="4576874"/>
            <a:ext cx="1214694" cy="961802"/>
          </a:xfrm>
          <a:prstGeom prst="rect">
            <a:avLst/>
          </a:prstGeom>
          <a:noFill/>
        </p:spPr>
        <p:txBody>
          <a:bodyPr wrap="square" lIns="0" tIns="0" rIns="0" bIns="0" rtlCol="0">
            <a:spAutoFit/>
          </a:bodyPr>
          <a:lstStyle/>
          <a:p>
            <a:pPr marL="176213" indent="-176213" algn="l">
              <a:lnSpc>
                <a:spcPct val="120000"/>
              </a:lnSpc>
              <a:spcBef>
                <a:spcPts val="800"/>
              </a:spcBef>
              <a:buFont typeface="Arial" panose="020B0604020202020204" pitchFamily="34" charset="0"/>
              <a:buChar char="•"/>
            </a:pPr>
            <a:r>
              <a:rPr lang="en-US" sz="1600" dirty="0"/>
              <a:t>VSOC</a:t>
            </a:r>
          </a:p>
          <a:p>
            <a:pPr marL="176213" indent="-176213" algn="l">
              <a:lnSpc>
                <a:spcPct val="120000"/>
              </a:lnSpc>
              <a:spcBef>
                <a:spcPts val="800"/>
              </a:spcBef>
              <a:buFont typeface="Arial" panose="020B0604020202020204" pitchFamily="34" charset="0"/>
              <a:buChar char="•"/>
            </a:pPr>
            <a:r>
              <a:rPr lang="en-US" sz="1600" dirty="0"/>
              <a:t>OTA updates</a:t>
            </a:r>
          </a:p>
        </p:txBody>
      </p:sp>
      <p:sp>
        <p:nvSpPr>
          <p:cNvPr id="22" name="TextBox 21">
            <a:extLst>
              <a:ext uri="{FF2B5EF4-FFF2-40B4-BE49-F238E27FC236}">
                <a16:creationId xmlns:a16="http://schemas.microsoft.com/office/drawing/2014/main" id="{4467629A-653B-2414-2A7C-61ECBF4BE438}"/>
              </a:ext>
            </a:extLst>
          </p:cNvPr>
          <p:cNvSpPr txBox="1"/>
          <p:nvPr/>
        </p:nvSpPr>
        <p:spPr>
          <a:xfrm>
            <a:off x="8621872" y="3218130"/>
            <a:ext cx="2898615" cy="1538883"/>
          </a:xfrm>
          <a:prstGeom prst="rect">
            <a:avLst/>
          </a:prstGeom>
          <a:noFill/>
        </p:spPr>
        <p:txBody>
          <a:bodyPr wrap="square" lIns="0" tIns="0" rIns="0" bIns="0" numCol="1" rtlCol="0">
            <a:spAutoFit/>
          </a:bodyPr>
          <a:lstStyle/>
          <a:p>
            <a:pPr marL="285750" indent="-285750" algn="l">
              <a:spcBef>
                <a:spcPts val="800"/>
              </a:spcBef>
              <a:buFont typeface="Arial" panose="020B0604020202020204" pitchFamily="34" charset="0"/>
              <a:buChar char="•"/>
            </a:pPr>
            <a:r>
              <a:rPr lang="en-US" sz="1600" dirty="0"/>
              <a:t>Code Review</a:t>
            </a:r>
          </a:p>
          <a:p>
            <a:pPr marL="285750" indent="-285750" algn="l">
              <a:spcBef>
                <a:spcPts val="800"/>
              </a:spcBef>
              <a:buFont typeface="Arial" panose="020B0604020202020204" pitchFamily="34" charset="0"/>
              <a:buChar char="•"/>
            </a:pPr>
            <a:r>
              <a:rPr lang="en-US" sz="1600" dirty="0"/>
              <a:t>Functional Security Tests</a:t>
            </a:r>
          </a:p>
          <a:p>
            <a:pPr marL="285750" indent="-285750" algn="l">
              <a:spcBef>
                <a:spcPts val="800"/>
              </a:spcBef>
              <a:buFont typeface="Arial" panose="020B0604020202020204" pitchFamily="34" charset="0"/>
              <a:buChar char="•"/>
            </a:pPr>
            <a:r>
              <a:rPr lang="en-US" sz="1600" dirty="0"/>
              <a:t>Fuzz Testing</a:t>
            </a:r>
          </a:p>
          <a:p>
            <a:pPr marL="285750" indent="-285750" algn="l">
              <a:spcBef>
                <a:spcPts val="800"/>
              </a:spcBef>
              <a:buFont typeface="Arial" panose="020B0604020202020204" pitchFamily="34" charset="0"/>
              <a:buChar char="•"/>
            </a:pPr>
            <a:r>
              <a:rPr lang="en-US" sz="1600" dirty="0" err="1"/>
              <a:t>Pentesting</a:t>
            </a:r>
            <a:r>
              <a:rPr lang="en-US" sz="1600" dirty="0"/>
              <a:t> (full vehicle/ ECU/cloud/mobile apps)</a:t>
            </a:r>
          </a:p>
        </p:txBody>
      </p:sp>
      <p:sp>
        <p:nvSpPr>
          <p:cNvPr id="23" name="Rectangle: Rounded Corners 22">
            <a:extLst>
              <a:ext uri="{FF2B5EF4-FFF2-40B4-BE49-F238E27FC236}">
                <a16:creationId xmlns:a16="http://schemas.microsoft.com/office/drawing/2014/main" id="{B17F07A4-2395-2E50-1DA3-FAE576E8E8CD}"/>
              </a:ext>
            </a:extLst>
          </p:cNvPr>
          <p:cNvSpPr/>
          <p:nvPr/>
        </p:nvSpPr>
        <p:spPr>
          <a:xfrm>
            <a:off x="8621873" y="2682849"/>
            <a:ext cx="2820808" cy="382690"/>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54864" rIns="144000" bIns="144000" rtlCol="0" anchor="t"/>
          <a:lstStyle/>
          <a:p>
            <a:pPr algn="ctr">
              <a:spcBef>
                <a:spcPts val="800"/>
              </a:spcBef>
            </a:pPr>
            <a:r>
              <a:rPr lang="en-US" sz="1600" dirty="0"/>
              <a:t>Security Testing</a:t>
            </a:r>
          </a:p>
        </p:txBody>
      </p:sp>
      <p:sp>
        <p:nvSpPr>
          <p:cNvPr id="24" name="Rectangle: Rounded Corners 23">
            <a:extLst>
              <a:ext uri="{FF2B5EF4-FFF2-40B4-BE49-F238E27FC236}">
                <a16:creationId xmlns:a16="http://schemas.microsoft.com/office/drawing/2014/main" id="{C8EB9B35-205B-9BB5-6A62-2D51BB28680F}"/>
              </a:ext>
            </a:extLst>
          </p:cNvPr>
          <p:cNvSpPr/>
          <p:nvPr/>
        </p:nvSpPr>
        <p:spPr>
          <a:xfrm>
            <a:off x="193139" y="2768931"/>
            <a:ext cx="2820808" cy="382690"/>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54864" rIns="144000" bIns="144000" rtlCol="0" anchor="t"/>
          <a:lstStyle/>
          <a:p>
            <a:pPr algn="ctr">
              <a:spcBef>
                <a:spcPts val="800"/>
              </a:spcBef>
            </a:pPr>
            <a:r>
              <a:rPr lang="en-US" sz="1600" dirty="0"/>
              <a:t>Security Engineering</a:t>
            </a:r>
          </a:p>
        </p:txBody>
      </p:sp>
      <p:sp>
        <p:nvSpPr>
          <p:cNvPr id="25" name="TextBox 24">
            <a:extLst>
              <a:ext uri="{FF2B5EF4-FFF2-40B4-BE49-F238E27FC236}">
                <a16:creationId xmlns:a16="http://schemas.microsoft.com/office/drawing/2014/main" id="{49186500-B46E-2DEE-CB4E-EBAEC1726E6D}"/>
              </a:ext>
            </a:extLst>
          </p:cNvPr>
          <p:cNvSpPr txBox="1"/>
          <p:nvPr/>
        </p:nvSpPr>
        <p:spPr>
          <a:xfrm>
            <a:off x="366401" y="3304212"/>
            <a:ext cx="2474283" cy="943848"/>
          </a:xfrm>
          <a:prstGeom prst="rect">
            <a:avLst/>
          </a:prstGeom>
          <a:noFill/>
        </p:spPr>
        <p:txBody>
          <a:bodyPr wrap="square" lIns="0" tIns="0" rIns="0" bIns="0" numCol="1" rtlCol="0">
            <a:spAutoFit/>
          </a:bodyPr>
          <a:lstStyle/>
          <a:p>
            <a:pPr marL="285750" indent="-285750" algn="l">
              <a:spcBef>
                <a:spcPts val="800"/>
              </a:spcBef>
              <a:buFont typeface="Arial" panose="020B0604020202020204" pitchFamily="34" charset="0"/>
              <a:buChar char="•"/>
            </a:pPr>
            <a:r>
              <a:rPr lang="en-US" sz="1600" dirty="0"/>
              <a:t>TARA</a:t>
            </a:r>
          </a:p>
          <a:p>
            <a:pPr marL="285750" indent="-285750" algn="l">
              <a:spcBef>
                <a:spcPts val="800"/>
              </a:spcBef>
              <a:buFont typeface="Arial" panose="020B0604020202020204" pitchFamily="34" charset="0"/>
              <a:buChar char="•"/>
            </a:pPr>
            <a:r>
              <a:rPr lang="en-US" sz="1600" dirty="0"/>
              <a:t>Security Requirements</a:t>
            </a:r>
          </a:p>
          <a:p>
            <a:pPr marL="285750" indent="-285750" algn="l">
              <a:spcBef>
                <a:spcPts val="800"/>
              </a:spcBef>
              <a:buFont typeface="Arial" panose="020B0604020202020204" pitchFamily="34" charset="0"/>
              <a:buChar char="•"/>
            </a:pPr>
            <a:r>
              <a:rPr lang="en-US" sz="1600" dirty="0"/>
              <a:t>Security Concepts</a:t>
            </a:r>
          </a:p>
        </p:txBody>
      </p:sp>
      <p:sp>
        <p:nvSpPr>
          <p:cNvPr id="26" name="TextBox 25">
            <a:extLst>
              <a:ext uri="{FF2B5EF4-FFF2-40B4-BE49-F238E27FC236}">
                <a16:creationId xmlns:a16="http://schemas.microsoft.com/office/drawing/2014/main" id="{A5DD33FD-2209-BEEE-91B1-CD3851E3E3F5}"/>
              </a:ext>
            </a:extLst>
          </p:cNvPr>
          <p:cNvSpPr txBox="1"/>
          <p:nvPr/>
        </p:nvSpPr>
        <p:spPr>
          <a:xfrm>
            <a:off x="3685925" y="4556244"/>
            <a:ext cx="1173428" cy="961802"/>
          </a:xfrm>
          <a:prstGeom prst="rect">
            <a:avLst/>
          </a:prstGeom>
          <a:noFill/>
        </p:spPr>
        <p:txBody>
          <a:bodyPr wrap="square" lIns="0" tIns="0" rIns="0" bIns="0" rtlCol="0">
            <a:spAutoFit/>
          </a:bodyPr>
          <a:lstStyle/>
          <a:p>
            <a:pPr marL="176213" indent="-176213" algn="l">
              <a:lnSpc>
                <a:spcPct val="120000"/>
              </a:lnSpc>
              <a:spcBef>
                <a:spcPts val="800"/>
              </a:spcBef>
              <a:buFont typeface="Arial" panose="020B0604020202020204" pitchFamily="34" charset="0"/>
              <a:buChar char="•"/>
            </a:pPr>
            <a:r>
              <a:rPr lang="en-US" sz="1600" dirty="0"/>
              <a:t>Training</a:t>
            </a:r>
          </a:p>
          <a:p>
            <a:pPr marL="176213" indent="-176213" algn="l">
              <a:lnSpc>
                <a:spcPct val="120000"/>
              </a:lnSpc>
              <a:spcBef>
                <a:spcPts val="800"/>
              </a:spcBef>
              <a:buFont typeface="Arial" panose="020B0604020202020204" pitchFamily="34" charset="0"/>
              <a:buChar char="•"/>
            </a:pPr>
            <a:r>
              <a:rPr lang="en-US" sz="1600" dirty="0"/>
              <a:t>Best practices</a:t>
            </a:r>
          </a:p>
        </p:txBody>
      </p:sp>
      <p:sp>
        <p:nvSpPr>
          <p:cNvPr id="27" name="TextBox 26">
            <a:extLst>
              <a:ext uri="{FF2B5EF4-FFF2-40B4-BE49-F238E27FC236}">
                <a16:creationId xmlns:a16="http://schemas.microsoft.com/office/drawing/2014/main" id="{87DE126B-B251-2FE6-5472-E00B334ACF79}"/>
              </a:ext>
            </a:extLst>
          </p:cNvPr>
          <p:cNvSpPr txBox="1"/>
          <p:nvPr/>
        </p:nvSpPr>
        <p:spPr>
          <a:xfrm>
            <a:off x="5345474" y="4704969"/>
            <a:ext cx="1619386" cy="1064394"/>
          </a:xfrm>
          <a:prstGeom prst="rect">
            <a:avLst/>
          </a:prstGeom>
          <a:noFill/>
        </p:spPr>
        <p:txBody>
          <a:bodyPr wrap="square" lIns="0" tIns="0" rIns="0" bIns="0" rtlCol="0">
            <a:spAutoFit/>
          </a:bodyPr>
          <a:lstStyle/>
          <a:p>
            <a:pPr marL="176213" indent="-176213" algn="l">
              <a:lnSpc>
                <a:spcPct val="120000"/>
              </a:lnSpc>
              <a:spcBef>
                <a:spcPts val="800"/>
              </a:spcBef>
              <a:buFont typeface="Arial" panose="020B0604020202020204" pitchFamily="34" charset="0"/>
              <a:buChar char="•"/>
            </a:pPr>
            <a:r>
              <a:rPr lang="en-US" sz="1600" dirty="0">
                <a:solidFill>
                  <a:schemeClr val="bg1"/>
                </a:solidFill>
              </a:rPr>
              <a:t>CSMS</a:t>
            </a:r>
          </a:p>
          <a:p>
            <a:pPr marL="176213" indent="-176213" algn="l">
              <a:lnSpc>
                <a:spcPct val="120000"/>
              </a:lnSpc>
              <a:spcBef>
                <a:spcPts val="800"/>
              </a:spcBef>
              <a:buFont typeface="Arial" panose="020B0604020202020204" pitchFamily="34" charset="0"/>
              <a:buChar char="•"/>
            </a:pPr>
            <a:r>
              <a:rPr lang="en-US" sz="1600" dirty="0">
                <a:solidFill>
                  <a:schemeClr val="bg1"/>
                </a:solidFill>
              </a:rPr>
              <a:t>SUMS</a:t>
            </a:r>
          </a:p>
          <a:p>
            <a:pPr marL="176213" indent="-176213" algn="l">
              <a:lnSpc>
                <a:spcPct val="120000"/>
              </a:lnSpc>
              <a:spcBef>
                <a:spcPts val="800"/>
              </a:spcBef>
              <a:buFont typeface="Arial" panose="020B0604020202020204" pitchFamily="34" charset="0"/>
              <a:buChar char="•"/>
            </a:pPr>
            <a:r>
              <a:rPr lang="en-US" sz="1600" dirty="0">
                <a:solidFill>
                  <a:schemeClr val="bg1"/>
                </a:solidFill>
              </a:rPr>
              <a:t>Processes</a:t>
            </a:r>
          </a:p>
        </p:txBody>
      </p:sp>
      <p:sp>
        <p:nvSpPr>
          <p:cNvPr id="29" name="TextBox 28">
            <a:extLst>
              <a:ext uri="{FF2B5EF4-FFF2-40B4-BE49-F238E27FC236}">
                <a16:creationId xmlns:a16="http://schemas.microsoft.com/office/drawing/2014/main" id="{392088B5-6066-4033-2CC7-5758C521057C}"/>
              </a:ext>
            </a:extLst>
          </p:cNvPr>
          <p:cNvSpPr txBox="1"/>
          <p:nvPr/>
        </p:nvSpPr>
        <p:spPr>
          <a:xfrm>
            <a:off x="492671" y="-328415"/>
            <a:ext cx="5413847" cy="184666"/>
          </a:xfrm>
          <a:prstGeom prst="rect">
            <a:avLst/>
          </a:prstGeom>
          <a:noFill/>
        </p:spPr>
        <p:txBody>
          <a:bodyPr wrap="square" lIns="0" tIns="0" rIns="0" bIns="0" numCol="2" rtlCol="0">
            <a:spAutoFit/>
          </a:bodyPr>
          <a:lstStyle/>
          <a:p>
            <a:pPr algn="l">
              <a:lnSpc>
                <a:spcPct val="120000"/>
              </a:lnSpc>
            </a:pPr>
            <a:r>
              <a:rPr lang="en-US" sz="1000" dirty="0"/>
              <a:t>CSMS: Cybersecurity Management System</a:t>
            </a:r>
          </a:p>
        </p:txBody>
      </p:sp>
      <p:sp>
        <p:nvSpPr>
          <p:cNvPr id="30" name="TextBox 29">
            <a:extLst>
              <a:ext uri="{FF2B5EF4-FFF2-40B4-BE49-F238E27FC236}">
                <a16:creationId xmlns:a16="http://schemas.microsoft.com/office/drawing/2014/main" id="{C69CB764-98FB-35CB-82C6-8389E3CF60A1}"/>
              </a:ext>
            </a:extLst>
          </p:cNvPr>
          <p:cNvSpPr txBox="1"/>
          <p:nvPr/>
        </p:nvSpPr>
        <p:spPr>
          <a:xfrm>
            <a:off x="6427978" y="-21447"/>
            <a:ext cx="2247957" cy="721672"/>
          </a:xfrm>
          <a:prstGeom prst="rect">
            <a:avLst/>
          </a:prstGeom>
          <a:noFill/>
        </p:spPr>
        <p:txBody>
          <a:bodyPr wrap="square" lIns="0" tIns="0" rIns="0" bIns="0" numCol="1" rtlCol="0">
            <a:spAutoFit/>
          </a:bodyPr>
          <a:lstStyle/>
          <a:p>
            <a:pPr algn="l">
              <a:lnSpc>
                <a:spcPct val="120000"/>
              </a:lnSpc>
            </a:pPr>
            <a:r>
              <a:rPr lang="en-US" sz="1000" dirty="0"/>
              <a:t>IDS: Intrusion Detection System</a:t>
            </a:r>
          </a:p>
          <a:p>
            <a:pPr algn="l">
              <a:lnSpc>
                <a:spcPct val="120000"/>
              </a:lnSpc>
            </a:pPr>
            <a:r>
              <a:rPr lang="en-US" sz="1000" dirty="0"/>
              <a:t>TEE: Trusted Execution Environment</a:t>
            </a:r>
          </a:p>
          <a:p>
            <a:pPr algn="l">
              <a:lnSpc>
                <a:spcPct val="120000"/>
              </a:lnSpc>
            </a:pPr>
            <a:r>
              <a:rPr lang="en-US" sz="1000" dirty="0"/>
              <a:t>CI/CD: Continuous Integration/ Continuous Delivery</a:t>
            </a:r>
          </a:p>
        </p:txBody>
      </p:sp>
      <p:sp>
        <p:nvSpPr>
          <p:cNvPr id="31" name="TextBox 30">
            <a:extLst>
              <a:ext uri="{FF2B5EF4-FFF2-40B4-BE49-F238E27FC236}">
                <a16:creationId xmlns:a16="http://schemas.microsoft.com/office/drawing/2014/main" id="{3BAB33D7-C1E6-70D2-D2F7-AE1B0463C6CC}"/>
              </a:ext>
            </a:extLst>
          </p:cNvPr>
          <p:cNvSpPr txBox="1"/>
          <p:nvPr/>
        </p:nvSpPr>
        <p:spPr>
          <a:xfrm>
            <a:off x="3733100" y="-8747"/>
            <a:ext cx="2588132" cy="352341"/>
          </a:xfrm>
          <a:prstGeom prst="rect">
            <a:avLst/>
          </a:prstGeom>
          <a:noFill/>
        </p:spPr>
        <p:txBody>
          <a:bodyPr wrap="square" lIns="0" tIns="0" rIns="0" bIns="0" numCol="1" rtlCol="0">
            <a:spAutoFit/>
          </a:bodyPr>
          <a:lstStyle/>
          <a:p>
            <a:pPr algn="l">
              <a:lnSpc>
                <a:spcPct val="120000"/>
              </a:lnSpc>
            </a:pPr>
            <a:r>
              <a:rPr lang="en-US" sz="1000" dirty="0"/>
              <a:t>TARA: Threat Analysis and Risk Assessment</a:t>
            </a:r>
          </a:p>
          <a:p>
            <a:pPr algn="l">
              <a:lnSpc>
                <a:spcPct val="120000"/>
              </a:lnSpc>
            </a:pPr>
            <a:r>
              <a:rPr lang="en-US" sz="1000" dirty="0" err="1"/>
              <a:t>SecOC</a:t>
            </a:r>
            <a:r>
              <a:rPr lang="en-US" sz="1000" dirty="0"/>
              <a:t>: Secure Onboard Communication</a:t>
            </a:r>
          </a:p>
        </p:txBody>
      </p:sp>
      <p:sp>
        <p:nvSpPr>
          <p:cNvPr id="32" name="TextBox 31">
            <a:extLst>
              <a:ext uri="{FF2B5EF4-FFF2-40B4-BE49-F238E27FC236}">
                <a16:creationId xmlns:a16="http://schemas.microsoft.com/office/drawing/2014/main" id="{B6797B0E-A4C5-30E8-F6E9-991694C90C78}"/>
              </a:ext>
            </a:extLst>
          </p:cNvPr>
          <p:cNvSpPr txBox="1"/>
          <p:nvPr/>
        </p:nvSpPr>
        <p:spPr>
          <a:xfrm>
            <a:off x="8675936" y="-21447"/>
            <a:ext cx="2846598" cy="906338"/>
          </a:xfrm>
          <a:prstGeom prst="rect">
            <a:avLst/>
          </a:prstGeom>
          <a:noFill/>
        </p:spPr>
        <p:txBody>
          <a:bodyPr wrap="square" lIns="0" tIns="0" rIns="0" bIns="0" numCol="1" rtlCol="0">
            <a:spAutoFit/>
          </a:bodyPr>
          <a:lstStyle/>
          <a:p>
            <a:pPr>
              <a:lnSpc>
                <a:spcPct val="120000"/>
              </a:lnSpc>
            </a:pPr>
            <a:r>
              <a:rPr lang="en-US" sz="1000" dirty="0"/>
              <a:t>CSMS: Cybersecurity Management System</a:t>
            </a:r>
          </a:p>
          <a:p>
            <a:pPr algn="l">
              <a:lnSpc>
                <a:spcPct val="120000"/>
              </a:lnSpc>
            </a:pPr>
            <a:r>
              <a:rPr lang="en-US" sz="1000" dirty="0"/>
              <a:t>SUMS: Software Update Management System</a:t>
            </a:r>
          </a:p>
          <a:p>
            <a:pPr algn="l">
              <a:lnSpc>
                <a:spcPct val="120000"/>
              </a:lnSpc>
            </a:pPr>
            <a:r>
              <a:rPr lang="en-US" sz="1000" dirty="0"/>
              <a:t>VSOC: Vehicle Security Operations Center</a:t>
            </a:r>
          </a:p>
          <a:p>
            <a:pPr algn="l">
              <a:lnSpc>
                <a:spcPct val="120000"/>
              </a:lnSpc>
            </a:pPr>
            <a:r>
              <a:rPr lang="en-US" sz="1000" dirty="0"/>
              <a:t>OTA: Over the Air</a:t>
            </a:r>
          </a:p>
          <a:p>
            <a:pPr algn="l">
              <a:lnSpc>
                <a:spcPct val="120000"/>
              </a:lnSpc>
            </a:pPr>
            <a:r>
              <a:rPr lang="en-US" sz="1000" dirty="0"/>
              <a:t>ECU: Electronic Control Unit</a:t>
            </a:r>
          </a:p>
        </p:txBody>
      </p:sp>
      <p:sp>
        <p:nvSpPr>
          <p:cNvPr id="2" name="TextBox 1">
            <a:extLst>
              <a:ext uri="{FF2B5EF4-FFF2-40B4-BE49-F238E27FC236}">
                <a16:creationId xmlns:a16="http://schemas.microsoft.com/office/drawing/2014/main" id="{FC03D7D4-0BAF-3A36-7173-F4D7B1391C48}"/>
              </a:ext>
            </a:extLst>
          </p:cNvPr>
          <p:cNvSpPr txBox="1"/>
          <p:nvPr/>
        </p:nvSpPr>
        <p:spPr>
          <a:xfrm>
            <a:off x="5285401" y="3035933"/>
            <a:ext cx="1321908" cy="268279"/>
          </a:xfrm>
          <a:prstGeom prst="rect">
            <a:avLst/>
          </a:prstGeom>
          <a:noFill/>
        </p:spPr>
        <p:txBody>
          <a:bodyPr wrap="square" lIns="0" tIns="0" rIns="0" bIns="0" rtlCol="0">
            <a:spAutoFit/>
          </a:bodyPr>
          <a:lstStyle/>
          <a:p>
            <a:pPr algn="l">
              <a:lnSpc>
                <a:spcPct val="120000"/>
              </a:lnSpc>
              <a:spcBef>
                <a:spcPts val="800"/>
              </a:spcBef>
            </a:pPr>
            <a:r>
              <a:rPr lang="en-US" sz="1600" dirty="0"/>
              <a:t>Optimizations</a:t>
            </a:r>
          </a:p>
        </p:txBody>
      </p:sp>
      <p:sp>
        <p:nvSpPr>
          <p:cNvPr id="3" name="TextBox 2">
            <a:extLst>
              <a:ext uri="{FF2B5EF4-FFF2-40B4-BE49-F238E27FC236}">
                <a16:creationId xmlns:a16="http://schemas.microsoft.com/office/drawing/2014/main" id="{E77DA9C8-D1A5-21A2-299F-8DCE429DFCFE}"/>
              </a:ext>
            </a:extLst>
          </p:cNvPr>
          <p:cNvSpPr txBox="1"/>
          <p:nvPr/>
        </p:nvSpPr>
        <p:spPr>
          <a:xfrm>
            <a:off x="3909600" y="4233588"/>
            <a:ext cx="1151940" cy="268279"/>
          </a:xfrm>
          <a:prstGeom prst="rect">
            <a:avLst/>
          </a:prstGeom>
          <a:noFill/>
        </p:spPr>
        <p:txBody>
          <a:bodyPr wrap="square" lIns="0" tIns="0" rIns="0" bIns="0" rtlCol="0">
            <a:spAutoFit/>
          </a:bodyPr>
          <a:lstStyle/>
          <a:p>
            <a:pPr algn="l">
              <a:lnSpc>
                <a:spcPct val="120000"/>
              </a:lnSpc>
              <a:spcBef>
                <a:spcPts val="800"/>
              </a:spcBef>
            </a:pPr>
            <a:r>
              <a:rPr lang="en-US" sz="1600" dirty="0"/>
              <a:t>Baseline</a:t>
            </a:r>
          </a:p>
        </p:txBody>
      </p:sp>
      <p:sp>
        <p:nvSpPr>
          <p:cNvPr id="13" name="TextBox 12">
            <a:extLst>
              <a:ext uri="{FF2B5EF4-FFF2-40B4-BE49-F238E27FC236}">
                <a16:creationId xmlns:a16="http://schemas.microsoft.com/office/drawing/2014/main" id="{FCE1118F-FF11-1AAC-EFB0-7AFA6B0B31CD}"/>
              </a:ext>
            </a:extLst>
          </p:cNvPr>
          <p:cNvSpPr txBox="1"/>
          <p:nvPr/>
        </p:nvSpPr>
        <p:spPr>
          <a:xfrm>
            <a:off x="6913284" y="4233588"/>
            <a:ext cx="1151940" cy="268279"/>
          </a:xfrm>
          <a:prstGeom prst="rect">
            <a:avLst/>
          </a:prstGeom>
          <a:noFill/>
        </p:spPr>
        <p:txBody>
          <a:bodyPr wrap="square" lIns="0" tIns="0" rIns="0" bIns="0" rtlCol="0">
            <a:spAutoFit/>
          </a:bodyPr>
          <a:lstStyle/>
          <a:p>
            <a:pPr algn="l">
              <a:lnSpc>
                <a:spcPct val="120000"/>
              </a:lnSpc>
              <a:spcBef>
                <a:spcPts val="800"/>
              </a:spcBef>
            </a:pPr>
            <a:r>
              <a:rPr lang="en-US" sz="1600" dirty="0"/>
              <a:t>Operations</a:t>
            </a:r>
          </a:p>
        </p:txBody>
      </p:sp>
      <p:grpSp>
        <p:nvGrpSpPr>
          <p:cNvPr id="4" name="easyIcon">
            <a:extLst>
              <a:ext uri="{FF2B5EF4-FFF2-40B4-BE49-F238E27FC236}">
                <a16:creationId xmlns:a16="http://schemas.microsoft.com/office/drawing/2014/main" id="{709816BA-6440-4C4D-0C5F-D8ADC62ACBB9}"/>
              </a:ext>
            </a:extLst>
          </p:cNvPr>
          <p:cNvGrpSpPr>
            <a:grpSpLocks noChangeAspect="1"/>
          </p:cNvGrpSpPr>
          <p:nvPr>
            <p:custDataLst>
              <p:tags r:id="rId1"/>
            </p:custDataLst>
          </p:nvPr>
        </p:nvGrpSpPr>
        <p:grpSpPr>
          <a:xfrm>
            <a:off x="7971753" y="1433258"/>
            <a:ext cx="720000" cy="720000"/>
            <a:chOff x="9079430" y="1224510"/>
            <a:chExt cx="720001" cy="720000"/>
          </a:xfrm>
        </p:grpSpPr>
        <p:sp>
          <p:nvSpPr>
            <p:cNvPr id="10" name="backgroundFixed">
              <a:extLst>
                <a:ext uri="{FF2B5EF4-FFF2-40B4-BE49-F238E27FC236}">
                  <a16:creationId xmlns:a16="http://schemas.microsoft.com/office/drawing/2014/main" id="{54CE1DE4-FEE0-61B3-9DE0-8F7C91BFFE14}"/>
                </a:ext>
              </a:extLst>
            </p:cNvPr>
            <p:cNvSpPr/>
            <p:nvPr>
              <p:custDataLst>
                <p:tags r:id="rId6"/>
              </p:custDataLst>
            </p:nvPr>
          </p:nvSpPr>
          <p:spPr>
            <a:xfrm>
              <a:off x="9079430" y="1224510"/>
              <a:ext cx="720001" cy="720000"/>
            </a:xfrm>
            <a:prstGeom prst="ellipse">
              <a:avLst/>
            </a:prstGeom>
            <a:solidFill>
              <a:srgbClr val="A200E6"/>
            </a:solidFill>
            <a:ln w="6350" cap="flat" cmpd="sng" algn="ctr">
              <a:noFill/>
              <a:prstDash val="solid"/>
              <a:round/>
              <a:headEnd type="none" w="med" len="med"/>
              <a:tailEnd type="none" w="med" len="med"/>
            </a:ln>
            <a:effectLst/>
            <a:extLst>
              <a:ext uri="{91240B29-F687-4F45-9708-019B960494DF}">
                <a14:hiddenLine xmlns:a14="http://schemas.microsoft.com/office/drawing/2010/main" w="6350" cap="flat" cmpd="sng" algn="ctr">
                  <a:solidFill>
                    <a:srgbClr val="52C9F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108000" numCol="1" spcCol="0" rtlCol="0" fromWordArt="0" anchor="t" anchorCtr="0" forceAA="0" compatLnSpc="1">
              <a:prstTxWarp prst="textNoShape">
                <a:avLst/>
              </a:prstTxWarp>
              <a:noAutofit/>
            </a:bodyPr>
            <a:lstStyle/>
            <a:p>
              <a:pPr algn="l"/>
              <a:endParaRPr lang="en-US" sz="1400" b="1" dirty="0">
                <a:solidFill>
                  <a:schemeClr val="bg1"/>
                </a:solidFill>
              </a:endParaRPr>
            </a:p>
          </p:txBody>
        </p:sp>
        <p:pic>
          <p:nvPicPr>
            <p:cNvPr id="12" name="Vector">
              <a:extLst>
                <a:ext uri="{FF2B5EF4-FFF2-40B4-BE49-F238E27FC236}">
                  <a16:creationId xmlns:a16="http://schemas.microsoft.com/office/drawing/2014/main" id="{C1268C85-BCAD-587A-BB43-35322B260AC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bwMode="gray">
            <a:xfrm>
              <a:off x="9079430" y="1224510"/>
              <a:ext cx="720000" cy="720000"/>
            </a:xfrm>
            <a:prstGeom prst="rect">
              <a:avLst/>
            </a:prstGeom>
          </p:spPr>
        </p:pic>
      </p:grpSp>
      <p:grpSp>
        <p:nvGrpSpPr>
          <p:cNvPr id="14" name="easyIcon">
            <a:extLst>
              <a:ext uri="{FF2B5EF4-FFF2-40B4-BE49-F238E27FC236}">
                <a16:creationId xmlns:a16="http://schemas.microsoft.com/office/drawing/2014/main" id="{5EC53D28-9D47-28D7-7071-680642FF4930}"/>
              </a:ext>
            </a:extLst>
          </p:cNvPr>
          <p:cNvGrpSpPr>
            <a:grpSpLocks noChangeAspect="1"/>
          </p:cNvGrpSpPr>
          <p:nvPr>
            <p:custDataLst>
              <p:tags r:id="rId2"/>
            </p:custDataLst>
          </p:nvPr>
        </p:nvGrpSpPr>
        <p:grpSpPr>
          <a:xfrm>
            <a:off x="9711179" y="4909604"/>
            <a:ext cx="720000" cy="720000"/>
            <a:chOff x="8028234" y="1224510"/>
            <a:chExt cx="720000" cy="720000"/>
          </a:xfrm>
        </p:grpSpPr>
        <p:sp>
          <p:nvSpPr>
            <p:cNvPr id="19" name="backgroundFixed">
              <a:extLst>
                <a:ext uri="{FF2B5EF4-FFF2-40B4-BE49-F238E27FC236}">
                  <a16:creationId xmlns:a16="http://schemas.microsoft.com/office/drawing/2014/main" id="{B9EED1BA-D3D2-FC47-B198-393292045741}"/>
                </a:ext>
              </a:extLst>
            </p:cNvPr>
            <p:cNvSpPr/>
            <p:nvPr>
              <p:custDataLst>
                <p:tags r:id="rId5"/>
              </p:custDataLst>
            </p:nvPr>
          </p:nvSpPr>
          <p:spPr>
            <a:xfrm>
              <a:off x="8028234" y="1224510"/>
              <a:ext cx="720000" cy="720000"/>
            </a:xfrm>
            <a:prstGeom prst="ellipse">
              <a:avLst/>
            </a:prstGeom>
            <a:solidFill>
              <a:srgbClr val="A200E6"/>
            </a:solidFill>
            <a:ln w="6350" cap="flat" cmpd="sng" algn="ctr">
              <a:noFill/>
              <a:prstDash val="solid"/>
              <a:round/>
              <a:headEnd type="none" w="med" len="med"/>
              <a:tailEnd type="none" w="med" len="med"/>
            </a:ln>
            <a:effectLst/>
            <a:extLst>
              <a:ext uri="{91240B29-F687-4F45-9708-019B960494DF}">
                <a14:hiddenLine xmlns:a14="http://schemas.microsoft.com/office/drawing/2010/main" w="6350" cap="flat" cmpd="sng" algn="ctr">
                  <a:solidFill>
                    <a:srgbClr val="52C9F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108000" numCol="1" spcCol="0" rtlCol="0" fromWordArt="0" anchor="t" anchorCtr="0" forceAA="0" compatLnSpc="1">
              <a:prstTxWarp prst="textNoShape">
                <a:avLst/>
              </a:prstTxWarp>
              <a:noAutofit/>
            </a:bodyPr>
            <a:lstStyle/>
            <a:p>
              <a:pPr algn="l"/>
              <a:endParaRPr lang="en-US" sz="1400" b="1" dirty="0">
                <a:solidFill>
                  <a:schemeClr val="bg1"/>
                </a:solidFill>
              </a:endParaRPr>
            </a:p>
          </p:txBody>
        </p:sp>
        <p:pic>
          <p:nvPicPr>
            <p:cNvPr id="28" name="Vector">
              <a:extLst>
                <a:ext uri="{FF2B5EF4-FFF2-40B4-BE49-F238E27FC236}">
                  <a16:creationId xmlns:a16="http://schemas.microsoft.com/office/drawing/2014/main" id="{A837758F-860A-DAB0-49EE-E85A103E6ED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bwMode="gray">
            <a:xfrm>
              <a:off x="8028234" y="1224510"/>
              <a:ext cx="720000" cy="720000"/>
            </a:xfrm>
            <a:prstGeom prst="rect">
              <a:avLst/>
            </a:prstGeom>
          </p:spPr>
        </p:pic>
      </p:grpSp>
      <p:grpSp>
        <p:nvGrpSpPr>
          <p:cNvPr id="36" name="easyIcon">
            <a:extLst>
              <a:ext uri="{FF2B5EF4-FFF2-40B4-BE49-F238E27FC236}">
                <a16:creationId xmlns:a16="http://schemas.microsoft.com/office/drawing/2014/main" id="{FCE548C4-85B0-D05E-23DD-8F1825D05AF6}"/>
              </a:ext>
            </a:extLst>
          </p:cNvPr>
          <p:cNvGrpSpPr>
            <a:grpSpLocks noChangeAspect="1"/>
          </p:cNvGrpSpPr>
          <p:nvPr>
            <p:custDataLst>
              <p:tags r:id="rId3"/>
            </p:custDataLst>
          </p:nvPr>
        </p:nvGrpSpPr>
        <p:grpSpPr>
          <a:xfrm>
            <a:off x="978510" y="4395222"/>
            <a:ext cx="720000" cy="720000"/>
            <a:chOff x="7008437" y="1150755"/>
            <a:chExt cx="721101" cy="721100"/>
          </a:xfrm>
        </p:grpSpPr>
        <p:sp>
          <p:nvSpPr>
            <p:cNvPr id="37" name="backgroundFixed">
              <a:extLst>
                <a:ext uri="{FF2B5EF4-FFF2-40B4-BE49-F238E27FC236}">
                  <a16:creationId xmlns:a16="http://schemas.microsoft.com/office/drawing/2014/main" id="{A4C84164-4ECA-381F-7369-009F2BF73128}"/>
                </a:ext>
              </a:extLst>
            </p:cNvPr>
            <p:cNvSpPr/>
            <p:nvPr>
              <p:custDataLst>
                <p:tags r:id="rId4"/>
              </p:custDataLst>
            </p:nvPr>
          </p:nvSpPr>
          <p:spPr>
            <a:xfrm>
              <a:off x="7008437" y="1150755"/>
              <a:ext cx="721101" cy="721100"/>
            </a:xfrm>
            <a:prstGeom prst="ellipse">
              <a:avLst/>
            </a:prstGeom>
            <a:solidFill>
              <a:srgbClr val="A200E6"/>
            </a:solidFill>
            <a:ln w="6350" cap="flat" cmpd="sng" algn="ctr">
              <a:noFill/>
              <a:prstDash val="solid"/>
              <a:round/>
              <a:headEnd type="none" w="med" len="med"/>
              <a:tailEnd type="none" w="med" len="med"/>
            </a:ln>
            <a:effectLst/>
            <a:extLst>
              <a:ext uri="{91240B29-F687-4F45-9708-019B960494DF}">
                <a14:hiddenLine xmlns:a14="http://schemas.microsoft.com/office/drawing/2010/main" w="6350" cap="flat" cmpd="sng" algn="ctr">
                  <a:solidFill>
                    <a:srgbClr val="52C9F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108000" numCol="1" spcCol="0" rtlCol="0" fromWordArt="0" anchor="t" anchorCtr="0" forceAA="0" compatLnSpc="1">
              <a:prstTxWarp prst="textNoShape">
                <a:avLst/>
              </a:prstTxWarp>
              <a:noAutofit/>
            </a:bodyPr>
            <a:lstStyle/>
            <a:p>
              <a:pPr algn="l"/>
              <a:endParaRPr lang="en-US" sz="1400" b="1" dirty="0">
                <a:solidFill>
                  <a:schemeClr val="bg1"/>
                </a:solidFill>
              </a:endParaRPr>
            </a:p>
          </p:txBody>
        </p:sp>
        <p:pic>
          <p:nvPicPr>
            <p:cNvPr id="38" name="Vector">
              <a:extLst>
                <a:ext uri="{FF2B5EF4-FFF2-40B4-BE49-F238E27FC236}">
                  <a16:creationId xmlns:a16="http://schemas.microsoft.com/office/drawing/2014/main" id="{CC9DDEBB-C7A9-84B6-3724-BE7E9B15F826}"/>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bwMode="gray">
            <a:xfrm>
              <a:off x="7008437" y="1150755"/>
              <a:ext cx="721100" cy="721100"/>
            </a:xfrm>
            <a:prstGeom prst="rect">
              <a:avLst/>
            </a:prstGeom>
          </p:spPr>
        </p:pic>
      </p:grpSp>
      <p:sp>
        <p:nvSpPr>
          <p:cNvPr id="39" name="Footer Placeholder 2">
            <a:extLst>
              <a:ext uri="{FF2B5EF4-FFF2-40B4-BE49-F238E27FC236}">
                <a16:creationId xmlns:a16="http://schemas.microsoft.com/office/drawing/2014/main" id="{EF975980-8270-8B32-816F-25C6E98BF0AC}"/>
              </a:ext>
            </a:extLst>
          </p:cNvPr>
          <p:cNvSpPr>
            <a:spLocks noGrp="1"/>
          </p:cNvSpPr>
          <p:nvPr>
            <p:ph type="ftr" sz="quarter" idx="10"/>
          </p:nvPr>
        </p:nvSpPr>
        <p:spPr>
          <a:xfrm>
            <a:off x="972123" y="6048375"/>
            <a:ext cx="4608513" cy="179364"/>
          </a:xfrm>
        </p:spPr>
        <p:txBody>
          <a:bodyPr/>
          <a:lstStyle/>
          <a:p>
            <a:r>
              <a:rPr lang="en-US" dirty="0"/>
              <a:t>IAV  05/2025  IAVJ  DKO  Status: draft, confidential</a:t>
            </a:r>
          </a:p>
        </p:txBody>
      </p:sp>
    </p:spTree>
    <p:extLst>
      <p:ext uri="{BB962C8B-B14F-4D97-AF65-F5344CB8AC3E}">
        <p14:creationId xmlns:p14="http://schemas.microsoft.com/office/powerpoint/2010/main" val="329156921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1D65AA-8D3D-99D7-F409-65AAF149A33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E613C8C-C0FB-FA99-8ACC-1141D4DA1C6E}"/>
              </a:ext>
            </a:extLst>
          </p:cNvPr>
          <p:cNvSpPr>
            <a:spLocks noGrp="1"/>
          </p:cNvSpPr>
          <p:nvPr>
            <p:ph type="title"/>
          </p:nvPr>
        </p:nvSpPr>
        <p:spPr/>
        <p:txBody>
          <a:bodyPr/>
          <a:lstStyle/>
          <a:p>
            <a:r>
              <a:rPr lang="en-US" dirty="0"/>
              <a:t>Agenda</a:t>
            </a:r>
          </a:p>
        </p:txBody>
      </p:sp>
      <p:sp>
        <p:nvSpPr>
          <p:cNvPr id="4" name="Slide Number Placeholder 3">
            <a:extLst>
              <a:ext uri="{FF2B5EF4-FFF2-40B4-BE49-F238E27FC236}">
                <a16:creationId xmlns:a16="http://schemas.microsoft.com/office/drawing/2014/main" id="{4AE4D785-04F6-05C4-8449-FDB176410D91}"/>
              </a:ext>
            </a:extLst>
          </p:cNvPr>
          <p:cNvSpPr>
            <a:spLocks noGrp="1"/>
          </p:cNvSpPr>
          <p:nvPr>
            <p:ph type="sldNum" sz="quarter" idx="11"/>
          </p:nvPr>
        </p:nvSpPr>
        <p:spPr/>
        <p:txBody>
          <a:bodyPr/>
          <a:lstStyle/>
          <a:p>
            <a:fld id="{DD6C52D8-AF7F-4297-9A35-2617B7FF1801}" type="slidenum">
              <a:rPr lang="en-US" smtClean="0"/>
              <a:pPr/>
              <a:t>12</a:t>
            </a:fld>
            <a:endParaRPr lang="en-US" dirty="0"/>
          </a:p>
        </p:txBody>
      </p:sp>
      <p:graphicFrame>
        <p:nvGraphicFramePr>
          <p:cNvPr id="5" name="Diagram 4">
            <a:extLst>
              <a:ext uri="{FF2B5EF4-FFF2-40B4-BE49-F238E27FC236}">
                <a16:creationId xmlns:a16="http://schemas.microsoft.com/office/drawing/2014/main" id="{A0C0BF2F-3506-38BE-778D-85C0398E5137}"/>
              </a:ext>
            </a:extLst>
          </p:cNvPr>
          <p:cNvGraphicFramePr/>
          <p:nvPr>
            <p:extLst>
              <p:ext uri="{D42A27DB-BD31-4B8C-83A1-F6EECF244321}">
                <p14:modId xmlns:p14="http://schemas.microsoft.com/office/powerpoint/2010/main" val="1677562226"/>
              </p:ext>
            </p:extLst>
          </p:nvPr>
        </p:nvGraphicFramePr>
        <p:xfrm>
          <a:off x="1920081" y="679979"/>
          <a:ext cx="7680325" cy="512021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Footer Placeholder 2">
            <a:extLst>
              <a:ext uri="{FF2B5EF4-FFF2-40B4-BE49-F238E27FC236}">
                <a16:creationId xmlns:a16="http://schemas.microsoft.com/office/drawing/2014/main" id="{B3C68E37-2E66-1B3C-3C0B-6972B9C75AD9}"/>
              </a:ext>
            </a:extLst>
          </p:cNvPr>
          <p:cNvSpPr>
            <a:spLocks noGrp="1"/>
          </p:cNvSpPr>
          <p:nvPr>
            <p:ph type="ftr" sz="quarter" idx="10"/>
          </p:nvPr>
        </p:nvSpPr>
        <p:spPr>
          <a:xfrm>
            <a:off x="972123" y="6048375"/>
            <a:ext cx="4608513" cy="179364"/>
          </a:xfrm>
        </p:spPr>
        <p:txBody>
          <a:bodyPr/>
          <a:lstStyle/>
          <a:p>
            <a:r>
              <a:rPr lang="en-US" dirty="0"/>
              <a:t>IAV  05/2025  IAVJ  DKO  Status: draft, confidential</a:t>
            </a:r>
          </a:p>
        </p:txBody>
      </p:sp>
    </p:spTree>
    <p:extLst>
      <p:ext uri="{BB962C8B-B14F-4D97-AF65-F5344CB8AC3E}">
        <p14:creationId xmlns:p14="http://schemas.microsoft.com/office/powerpoint/2010/main" val="174612659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C77915-FC8B-84AB-F477-A22B6065ED00}"/>
            </a:ext>
          </a:extLst>
        </p:cNvPr>
        <p:cNvGrpSpPr/>
        <p:nvPr/>
      </p:nvGrpSpPr>
      <p:grpSpPr>
        <a:xfrm>
          <a:off x="0" y="0"/>
          <a:ext cx="0" cy="0"/>
          <a:chOff x="0" y="0"/>
          <a:chExt cx="0" cy="0"/>
        </a:xfrm>
      </p:grpSpPr>
      <p:cxnSp>
        <p:nvCxnSpPr>
          <p:cNvPr id="44" name="Gerader Verbinder 43">
            <a:extLst>
              <a:ext uri="{FF2B5EF4-FFF2-40B4-BE49-F238E27FC236}">
                <a16:creationId xmlns:a16="http://schemas.microsoft.com/office/drawing/2014/main" id="{05B9600E-F2A9-FCC9-F736-F60215E800EB}"/>
              </a:ext>
            </a:extLst>
          </p:cNvPr>
          <p:cNvCxnSpPr>
            <a:cxnSpLocks/>
          </p:cNvCxnSpPr>
          <p:nvPr/>
        </p:nvCxnSpPr>
        <p:spPr>
          <a:xfrm>
            <a:off x="5202543" y="3059508"/>
            <a:ext cx="1647193" cy="0"/>
          </a:xfrm>
          <a:prstGeom prst="line">
            <a:avLst/>
          </a:prstGeom>
          <a:ln w="19050" cmpd="sng">
            <a:solidFill>
              <a:srgbClr val="D2F5FF"/>
            </a:solidFill>
            <a:prstDash val="solid"/>
            <a:headEnd type="oval" w="med" len="med"/>
            <a:tailEnd type="none" w="med" len="med"/>
          </a:ln>
        </p:spPr>
        <p:style>
          <a:lnRef idx="1">
            <a:schemeClr val="accent1"/>
          </a:lnRef>
          <a:fillRef idx="0">
            <a:schemeClr val="accent1"/>
          </a:fillRef>
          <a:effectRef idx="0">
            <a:schemeClr val="accent1"/>
          </a:effectRef>
          <a:fontRef idx="minor">
            <a:schemeClr val="tx1"/>
          </a:fontRef>
        </p:style>
      </p:cxnSp>
      <p:sp>
        <p:nvSpPr>
          <p:cNvPr id="4" name="Titel 3">
            <a:extLst>
              <a:ext uri="{FF2B5EF4-FFF2-40B4-BE49-F238E27FC236}">
                <a16:creationId xmlns:a16="http://schemas.microsoft.com/office/drawing/2014/main" id="{074B87D1-AC01-1395-2C35-1D3CDDA3ADB4}"/>
              </a:ext>
            </a:extLst>
          </p:cNvPr>
          <p:cNvSpPr>
            <a:spLocks noGrp="1"/>
          </p:cNvSpPr>
          <p:nvPr>
            <p:ph type="title"/>
          </p:nvPr>
        </p:nvSpPr>
        <p:spPr/>
        <p:txBody>
          <a:bodyPr/>
          <a:lstStyle/>
          <a:p>
            <a:r>
              <a:rPr lang="en"/>
              <a:t>Security Regulations Worldwide at a Glance</a:t>
            </a:r>
          </a:p>
        </p:txBody>
      </p:sp>
      <p:sp>
        <p:nvSpPr>
          <p:cNvPr id="2" name="Foliennummernplatzhalter 1">
            <a:extLst>
              <a:ext uri="{FF2B5EF4-FFF2-40B4-BE49-F238E27FC236}">
                <a16:creationId xmlns:a16="http://schemas.microsoft.com/office/drawing/2014/main" id="{CF2D50EA-A9E5-168F-DDFE-060CEE0B3DC5}"/>
              </a:ext>
            </a:extLst>
          </p:cNvPr>
          <p:cNvSpPr>
            <a:spLocks noGrp="1"/>
          </p:cNvSpPr>
          <p:nvPr>
            <p:ph type="sldNum" sz="quarter" idx="11"/>
          </p:nvPr>
        </p:nvSpPr>
        <p:spPr/>
        <p:txBody>
          <a:bodyPr/>
          <a:lstStyle/>
          <a:p>
            <a:pPr marL="0" marR="0" lvl="0" indent="0" algn="l" defTabSz="863995" rtl="0" eaLnBrk="1" fontAlgn="auto" latinLnBrk="0" hangingPunct="1">
              <a:lnSpc>
                <a:spcPct val="100000"/>
              </a:lnSpc>
              <a:spcBef>
                <a:spcPts val="0"/>
              </a:spcBef>
              <a:spcAft>
                <a:spcPts val="0"/>
              </a:spcAft>
              <a:buClrTx/>
              <a:buSzTx/>
              <a:buFontTx/>
              <a:buNone/>
              <a:tabLst/>
              <a:defRPr/>
            </a:pPr>
            <a:fld id="{DD6C52D8-AF7F-4297-9A35-2617B7FF1801}" type="slidenum">
              <a:rPr kumimoji="0" lang="en-US" sz="700" b="0" i="0" u="none" strike="noStrike" kern="1200" cap="none" spc="0" normalizeH="0" baseline="0" noProof="0" smtClean="0">
                <a:ln>
                  <a:noFill/>
                </a:ln>
                <a:solidFill>
                  <a:srgbClr val="001A54"/>
                </a:solidFill>
                <a:effectLst/>
                <a:uLnTx/>
                <a:uFillTx/>
                <a:latin typeface="Arial" panose="020B0604020202020204"/>
                <a:ea typeface="+mn-ea"/>
                <a:cs typeface="+mn-cs"/>
              </a:rPr>
              <a:pPr marL="0" marR="0" lvl="0" indent="0" algn="l" defTabSz="863995" rtl="0" eaLnBrk="1" fontAlgn="auto" latinLnBrk="0" hangingPunct="1">
                <a:lnSpc>
                  <a:spcPct val="100000"/>
                </a:lnSpc>
                <a:spcBef>
                  <a:spcPts val="0"/>
                </a:spcBef>
                <a:spcAft>
                  <a:spcPts val="0"/>
                </a:spcAft>
                <a:buClrTx/>
                <a:buSzTx/>
                <a:buFontTx/>
                <a:buNone/>
                <a:tabLst/>
                <a:defRPr/>
              </a:pPr>
              <a:t>13</a:t>
            </a:fld>
            <a:endParaRPr kumimoji="0" lang="en-US" sz="700" b="0" i="0" u="none" strike="noStrike" kern="1200" cap="none" spc="0" normalizeH="0" baseline="0" noProof="0">
              <a:ln>
                <a:noFill/>
              </a:ln>
              <a:solidFill>
                <a:srgbClr val="001A54"/>
              </a:solidFill>
              <a:effectLst/>
              <a:uLnTx/>
              <a:uFillTx/>
              <a:latin typeface="Arial" panose="020B0604020202020204"/>
              <a:ea typeface="+mn-ea"/>
              <a:cs typeface="+mn-cs"/>
            </a:endParaRPr>
          </a:p>
        </p:txBody>
      </p:sp>
      <p:cxnSp>
        <p:nvCxnSpPr>
          <p:cNvPr id="5" name="Gerader Verbinder 4">
            <a:extLst>
              <a:ext uri="{FF2B5EF4-FFF2-40B4-BE49-F238E27FC236}">
                <a16:creationId xmlns:a16="http://schemas.microsoft.com/office/drawing/2014/main" id="{E5ACCF24-43BE-D739-621B-9CE4B76156D3}"/>
              </a:ext>
            </a:extLst>
          </p:cNvPr>
          <p:cNvCxnSpPr>
            <a:cxnSpLocks/>
          </p:cNvCxnSpPr>
          <p:nvPr/>
        </p:nvCxnSpPr>
        <p:spPr>
          <a:xfrm>
            <a:off x="5202543" y="3059508"/>
            <a:ext cx="1548000" cy="0"/>
          </a:xfrm>
          <a:prstGeom prst="line">
            <a:avLst/>
          </a:prstGeom>
          <a:ln w="19050" cmpd="sng">
            <a:solidFill>
              <a:srgbClr val="D2F5FF"/>
            </a:solidFill>
            <a:prstDash val="solid"/>
            <a:headEnd type="oval"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56" name="Gruppieren 55">
            <a:extLst>
              <a:ext uri="{FF2B5EF4-FFF2-40B4-BE49-F238E27FC236}">
                <a16:creationId xmlns:a16="http://schemas.microsoft.com/office/drawing/2014/main" id="{33192AC0-0C17-E2B9-5360-5CB03E72AE2E}"/>
              </a:ext>
            </a:extLst>
          </p:cNvPr>
          <p:cNvGrpSpPr/>
          <p:nvPr/>
        </p:nvGrpSpPr>
        <p:grpSpPr>
          <a:xfrm>
            <a:off x="539750" y="683803"/>
            <a:ext cx="10440990" cy="5302836"/>
            <a:chOff x="539750" y="740089"/>
            <a:chExt cx="10440990" cy="5302836"/>
          </a:xfrm>
        </p:grpSpPr>
        <p:grpSp>
          <p:nvGrpSpPr>
            <p:cNvPr id="37" name="Gruppieren 36">
              <a:extLst>
                <a:ext uri="{FF2B5EF4-FFF2-40B4-BE49-F238E27FC236}">
                  <a16:creationId xmlns:a16="http://schemas.microsoft.com/office/drawing/2014/main" id="{4C872D7D-FAB1-50D7-687F-78F921886BF3}"/>
                </a:ext>
              </a:extLst>
            </p:cNvPr>
            <p:cNvGrpSpPr/>
            <p:nvPr/>
          </p:nvGrpSpPr>
          <p:grpSpPr>
            <a:xfrm>
              <a:off x="7056388" y="740089"/>
              <a:ext cx="323796" cy="5148495"/>
              <a:chOff x="7127412" y="740089"/>
              <a:chExt cx="323796" cy="5148495"/>
            </a:xfrm>
          </p:grpSpPr>
          <p:sp>
            <p:nvSpPr>
              <p:cNvPr id="13" name="Textbox">
                <a:extLst>
                  <a:ext uri="{FF2B5EF4-FFF2-40B4-BE49-F238E27FC236}">
                    <a16:creationId xmlns:a16="http://schemas.microsoft.com/office/drawing/2014/main" id="{EBD3E561-EF88-1524-4C2A-21F0B7AB3088}"/>
                  </a:ext>
                </a:extLst>
              </p:cNvPr>
              <p:cNvSpPr txBox="1">
                <a:spLocks/>
              </p:cNvSpPr>
              <p:nvPr>
                <p:custDataLst>
                  <p:tags r:id="rId28"/>
                </p:custDataLst>
              </p:nvPr>
            </p:nvSpPr>
            <p:spPr>
              <a:xfrm>
                <a:off x="7127412" y="740089"/>
                <a:ext cx="323796" cy="134139"/>
              </a:xfrm>
              <a:prstGeom prst="rect">
                <a:avLst/>
              </a:prstGeom>
              <a:noFill/>
              <a:extLst>
                <a:ext uri="{909E8E84-426E-40DD-AFC4-6F175D3DCCD1}">
                  <a14:hiddenFill xmlns:a14="http://schemas.microsoft.com/office/drawing/2010/main">
                    <a:solidFill>
                      <a:srgbClr val="001A54"/>
                    </a:solidFill>
                  </a14:hiddenFill>
                </a:ext>
              </a:extLst>
            </p:spPr>
            <p:txBody>
              <a:bodyPr vert="horz" wrap="square" lIns="0" tIns="0" rIns="0" bIns="0" rtlCol="0">
                <a:spAutoFit/>
              </a:bodyPr>
              <a:lstStyle>
                <a:lvl1pPr marL="0" indent="0" algn="l" defTabSz="863995" rtl="0" eaLnBrk="1" latinLnBrk="0" hangingPunct="1">
                  <a:lnSpc>
                    <a:spcPct val="120000"/>
                  </a:lnSpc>
                  <a:spcBef>
                    <a:spcPts val="1600"/>
                  </a:spcBef>
                  <a:spcAft>
                    <a:spcPts val="0"/>
                  </a:spcAft>
                  <a:buClr>
                    <a:schemeClr val="tx1"/>
                  </a:buClr>
                  <a:buFontTx/>
                  <a:buNone/>
                  <a:defRPr sz="1600" b="1" i="0" kern="1200">
                    <a:solidFill>
                      <a:srgbClr val="001A54"/>
                    </a:solidFill>
                    <a:latin typeface="+mn-lt"/>
                    <a:ea typeface="Aktiv Grotesk" panose="020B0504020202020204" pitchFamily="34" charset="0"/>
                    <a:cs typeface="Arial" panose="020B0604020202020204" pitchFamily="34" charset="0"/>
                  </a:defRPr>
                </a:lvl1pPr>
                <a:lvl2pPr marL="0" indent="0" algn="l" defTabSz="863995" rtl="0" eaLnBrk="1" latinLnBrk="0" hangingPunct="1">
                  <a:lnSpc>
                    <a:spcPct val="120000"/>
                  </a:lnSpc>
                  <a:spcBef>
                    <a:spcPts val="800"/>
                  </a:spcBef>
                  <a:spcAft>
                    <a:spcPts val="0"/>
                  </a:spcAft>
                  <a:buClr>
                    <a:schemeClr val="tx1"/>
                  </a:buClr>
                  <a:buFontTx/>
                  <a:buNone/>
                  <a:defRPr sz="1600" b="0" i="0" kern="1200">
                    <a:solidFill>
                      <a:srgbClr val="001A54"/>
                    </a:solidFill>
                    <a:latin typeface="+mn-lt"/>
                    <a:ea typeface="Aktiv Grotesk" panose="020B0504020202020204" pitchFamily="34" charset="0"/>
                    <a:cs typeface="Arial" panose="020B0604020202020204" pitchFamily="34" charset="0"/>
                  </a:defRPr>
                </a:lvl2pPr>
                <a:lvl3pPr marL="180000" indent="-179388" algn="l" defTabSz="863995" rtl="0" eaLnBrk="1" latinLnBrk="0" hangingPunct="1">
                  <a:lnSpc>
                    <a:spcPct val="120000"/>
                  </a:lnSpc>
                  <a:spcBef>
                    <a:spcPts val="800"/>
                  </a:spcBef>
                  <a:spcAft>
                    <a:spcPts val="0"/>
                  </a:spcAft>
                  <a:buClrTx/>
                  <a:buFont typeface="Arial" panose="020B0604020202020204" pitchFamily="34" charset="0"/>
                  <a:buChar char="•"/>
                  <a:defRPr sz="1600" b="0" i="0" kern="1200">
                    <a:solidFill>
                      <a:srgbClr val="001A54"/>
                    </a:solidFill>
                    <a:latin typeface="+mn-lt"/>
                    <a:ea typeface="Aktiv Grotesk" panose="020B0504020202020204" pitchFamily="34" charset="0"/>
                    <a:cs typeface="Arial" panose="020B0604020202020204" pitchFamily="34" charset="0"/>
                  </a:defRPr>
                </a:lvl3pPr>
                <a:lvl4pPr marL="360000" indent="-180000" algn="l" defTabSz="863995" rtl="0" eaLnBrk="1" latinLnBrk="0" hangingPunct="1">
                  <a:lnSpc>
                    <a:spcPct val="120000"/>
                  </a:lnSpc>
                  <a:spcBef>
                    <a:spcPts val="800"/>
                  </a:spcBef>
                  <a:spcAft>
                    <a:spcPts val="0"/>
                  </a:spcAft>
                  <a:buClrTx/>
                  <a:buFont typeface="Arial" panose="020B0604020202020204" pitchFamily="34" charset="0"/>
                  <a:buChar char="•"/>
                  <a:defRPr sz="1600" b="0" i="0" kern="1200">
                    <a:solidFill>
                      <a:srgbClr val="001A54"/>
                    </a:solidFill>
                    <a:latin typeface="+mn-lt"/>
                    <a:ea typeface="Aktiv Grotesk" panose="020B0504020202020204" pitchFamily="34" charset="0"/>
                    <a:cs typeface="Arial" panose="020B0604020202020204" pitchFamily="34" charset="0"/>
                  </a:defRPr>
                </a:lvl4pPr>
                <a:lvl5pPr marL="540000" indent="-180000" algn="l" defTabSz="863995" rtl="0" eaLnBrk="1" latinLnBrk="0" hangingPunct="1">
                  <a:lnSpc>
                    <a:spcPct val="120000"/>
                  </a:lnSpc>
                  <a:spcBef>
                    <a:spcPts val="800"/>
                  </a:spcBef>
                  <a:spcAft>
                    <a:spcPts val="0"/>
                  </a:spcAft>
                  <a:buClrTx/>
                  <a:buFont typeface="Arial" panose="020B0604020202020204" pitchFamily="34" charset="0"/>
                  <a:buChar char="•"/>
                  <a:defRPr sz="1600" b="0" i="0" kern="1200">
                    <a:solidFill>
                      <a:srgbClr val="001A54"/>
                    </a:solidFill>
                    <a:latin typeface="+mn-lt"/>
                    <a:ea typeface="Aktiv Grotesk" panose="020B0504020202020204" pitchFamily="34" charset="0"/>
                    <a:cs typeface="Arial" panose="020B0604020202020204" pitchFamily="34" charset="0"/>
                  </a:defRPr>
                </a:lvl5pPr>
                <a:lvl6pPr marL="2375986" indent="-215998" algn="l" defTabSz="86399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6pPr>
                <a:lvl7pPr marL="2807984" indent="-215998" algn="l" defTabSz="86399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7pPr>
                <a:lvl8pPr marL="3239981" indent="-215998" algn="l" defTabSz="86399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8pPr>
                <a:lvl9pPr marL="3671979" indent="-215998" algn="l" defTabSz="86399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9pPr>
              </a:lstStyle>
              <a:p>
                <a:pPr marL="0" marR="0" lvl="0" indent="0" algn="l" defTabSz="863995" rtl="0" eaLnBrk="1" fontAlgn="auto" latinLnBrk="0" hangingPunct="1">
                  <a:lnSpc>
                    <a:spcPct val="120000"/>
                  </a:lnSpc>
                  <a:spcBef>
                    <a:spcPts val="800"/>
                  </a:spcBef>
                  <a:spcAft>
                    <a:spcPts val="0"/>
                  </a:spcAft>
                  <a:buClr>
                    <a:srgbClr val="001A54"/>
                  </a:buClr>
                  <a:buSzTx/>
                  <a:buFontTx/>
                  <a:buNone/>
                  <a:tabLst/>
                  <a:defRPr/>
                </a:pPr>
                <a:r>
                  <a:rPr kumimoji="0" lang="en" sz="800" b="0" i="0" u="none" strike="noStrike" kern="1200" cap="none" spc="0" normalizeH="0" baseline="0" noProof="0" dirty="0">
                    <a:ln>
                      <a:noFill/>
                    </a:ln>
                    <a:solidFill>
                      <a:srgbClr val="001A54"/>
                    </a:solidFill>
                    <a:effectLst/>
                    <a:uLnTx/>
                    <a:uFillTx/>
                    <a:latin typeface="Arial" panose="020B0604020202020204"/>
                    <a:cs typeface="Arial" panose="020B0604020202020204" pitchFamily="34" charset="0"/>
                  </a:rPr>
                  <a:t>today</a:t>
                </a:r>
              </a:p>
            </p:txBody>
          </p:sp>
          <p:cxnSp>
            <p:nvCxnSpPr>
              <p:cNvPr id="6" name="Gerader Verbinder 5">
                <a:extLst>
                  <a:ext uri="{FF2B5EF4-FFF2-40B4-BE49-F238E27FC236}">
                    <a16:creationId xmlns:a16="http://schemas.microsoft.com/office/drawing/2014/main" id="{BFB11283-9F66-0DE5-D71B-E98D03C06964}"/>
                  </a:ext>
                </a:extLst>
              </p:cNvPr>
              <p:cNvCxnSpPr>
                <a:cxnSpLocks/>
              </p:cNvCxnSpPr>
              <p:nvPr/>
            </p:nvCxnSpPr>
            <p:spPr>
              <a:xfrm>
                <a:off x="7415444" y="752475"/>
                <a:ext cx="0" cy="5136109"/>
              </a:xfrm>
              <a:prstGeom prst="line">
                <a:avLst/>
              </a:prstGeom>
              <a:ln w="28575" cmpd="sng">
                <a:solidFill>
                  <a:srgbClr val="FF73FA"/>
                </a:solidFill>
                <a:prstDash val="solid"/>
              </a:ln>
            </p:spPr>
            <p:style>
              <a:lnRef idx="1">
                <a:schemeClr val="accent1"/>
              </a:lnRef>
              <a:fillRef idx="0">
                <a:schemeClr val="accent1"/>
              </a:fillRef>
              <a:effectRef idx="0">
                <a:schemeClr val="accent1"/>
              </a:effectRef>
              <a:fontRef idx="minor">
                <a:schemeClr val="tx1"/>
              </a:fontRef>
            </p:style>
          </p:cxnSp>
        </p:grpSp>
        <p:graphicFrame>
          <p:nvGraphicFramePr>
            <p:cNvPr id="8" name="masterTableStyle2">
              <a:extLst>
                <a:ext uri="{FF2B5EF4-FFF2-40B4-BE49-F238E27FC236}">
                  <a16:creationId xmlns:a16="http://schemas.microsoft.com/office/drawing/2014/main" id="{5F806A1D-A452-B3BA-0767-1E79939F6DD9}"/>
                </a:ext>
              </a:extLst>
            </p:cNvPr>
            <p:cNvGraphicFramePr>
              <a:graphicFrameLocks/>
            </p:cNvGraphicFramePr>
            <p:nvPr>
              <p:custDataLst>
                <p:tags r:id="rId27"/>
              </p:custDataLst>
              <p:extLst>
                <p:ext uri="{D42A27DB-BD31-4B8C-83A1-F6EECF244321}">
                  <p14:modId xmlns:p14="http://schemas.microsoft.com/office/powerpoint/2010/main" val="790263842"/>
                </p:ext>
              </p:extLst>
            </p:nvPr>
          </p:nvGraphicFramePr>
          <p:xfrm>
            <a:off x="539750" y="945760"/>
            <a:ext cx="10440990" cy="5097165"/>
          </p:xfrm>
          <a:graphic>
            <a:graphicData uri="http://schemas.openxmlformats.org/drawingml/2006/table">
              <a:tbl>
                <a:tblPr firstRow="1" bandRow="1">
                  <a:tableStyleId>{5C22544A-7EE6-4342-B048-85BDC9FD1C3A}</a:tableStyleId>
                </a:tblPr>
                <a:tblGrid>
                  <a:gridCol w="864010">
                    <a:extLst>
                      <a:ext uri="{9D8B030D-6E8A-4147-A177-3AD203B41FA5}">
                        <a16:colId xmlns:a16="http://schemas.microsoft.com/office/drawing/2014/main" val="20002"/>
                      </a:ext>
                    </a:extLst>
                  </a:gridCol>
                  <a:gridCol w="1445766">
                    <a:extLst>
                      <a:ext uri="{9D8B030D-6E8A-4147-A177-3AD203B41FA5}">
                        <a16:colId xmlns:a16="http://schemas.microsoft.com/office/drawing/2014/main" val="2941884286"/>
                      </a:ext>
                    </a:extLst>
                  </a:gridCol>
                  <a:gridCol w="1637414">
                    <a:extLst>
                      <a:ext uri="{9D8B030D-6E8A-4147-A177-3AD203B41FA5}">
                        <a16:colId xmlns:a16="http://schemas.microsoft.com/office/drawing/2014/main" val="1433438850"/>
                      </a:ext>
                    </a:extLst>
                  </a:gridCol>
                  <a:gridCol w="811725">
                    <a:extLst>
                      <a:ext uri="{9D8B030D-6E8A-4147-A177-3AD203B41FA5}">
                        <a16:colId xmlns:a16="http://schemas.microsoft.com/office/drawing/2014/main" val="3038259311"/>
                      </a:ext>
                    </a:extLst>
                  </a:gridCol>
                  <a:gridCol w="811725">
                    <a:extLst>
                      <a:ext uri="{9D8B030D-6E8A-4147-A177-3AD203B41FA5}">
                        <a16:colId xmlns:a16="http://schemas.microsoft.com/office/drawing/2014/main" val="1064610080"/>
                      </a:ext>
                    </a:extLst>
                  </a:gridCol>
                  <a:gridCol w="811725">
                    <a:extLst>
                      <a:ext uri="{9D8B030D-6E8A-4147-A177-3AD203B41FA5}">
                        <a16:colId xmlns:a16="http://schemas.microsoft.com/office/drawing/2014/main" val="3304636156"/>
                      </a:ext>
                    </a:extLst>
                  </a:gridCol>
                  <a:gridCol w="811725">
                    <a:extLst>
                      <a:ext uri="{9D8B030D-6E8A-4147-A177-3AD203B41FA5}">
                        <a16:colId xmlns:a16="http://schemas.microsoft.com/office/drawing/2014/main" val="3369941342"/>
                      </a:ext>
                    </a:extLst>
                  </a:gridCol>
                  <a:gridCol w="811725">
                    <a:extLst>
                      <a:ext uri="{9D8B030D-6E8A-4147-A177-3AD203B41FA5}">
                        <a16:colId xmlns:a16="http://schemas.microsoft.com/office/drawing/2014/main" val="1311494694"/>
                      </a:ext>
                    </a:extLst>
                  </a:gridCol>
                  <a:gridCol w="811725">
                    <a:extLst>
                      <a:ext uri="{9D8B030D-6E8A-4147-A177-3AD203B41FA5}">
                        <a16:colId xmlns:a16="http://schemas.microsoft.com/office/drawing/2014/main" val="312011010"/>
                      </a:ext>
                    </a:extLst>
                  </a:gridCol>
                  <a:gridCol w="811725">
                    <a:extLst>
                      <a:ext uri="{9D8B030D-6E8A-4147-A177-3AD203B41FA5}">
                        <a16:colId xmlns:a16="http://schemas.microsoft.com/office/drawing/2014/main" val="1761923702"/>
                      </a:ext>
                    </a:extLst>
                  </a:gridCol>
                  <a:gridCol w="811725">
                    <a:extLst>
                      <a:ext uri="{9D8B030D-6E8A-4147-A177-3AD203B41FA5}">
                        <a16:colId xmlns:a16="http://schemas.microsoft.com/office/drawing/2014/main" val="3964169643"/>
                      </a:ext>
                    </a:extLst>
                  </a:gridCol>
                </a:tblGrid>
                <a:tr h="0">
                  <a:tc>
                    <a:txBody>
                      <a:bodyPr/>
                      <a:lstStyle/>
                      <a:p>
                        <a:pPr algn="l" fontAlgn="b"/>
                        <a:r>
                          <a:rPr lang="en" sz="800" b="1" i="0" u="none" strike="noStrike">
                            <a:solidFill>
                              <a:srgbClr val="001A54"/>
                            </a:solidFill>
                            <a:effectLst/>
                            <a:latin typeface="Arial" panose="020B0604020202020204" pitchFamily="34" charset="0"/>
                          </a:rPr>
                          <a:t>Country / Region</a:t>
                        </a:r>
                      </a:p>
                    </a:txBody>
                    <a:tcPr marL="9525" marR="9525" marT="9525">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CCCCC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 sz="800" b="1" i="0" u="none" strike="noStrike">
                            <a:solidFill>
                              <a:srgbClr val="001A54"/>
                            </a:solidFill>
                            <a:effectLst/>
                            <a:latin typeface="Arial" panose="020B0604020202020204" pitchFamily="34" charset="0"/>
                          </a:rPr>
                          <a:t>Regulation / Standards</a:t>
                        </a:r>
                      </a:p>
                    </a:txBody>
                    <a:tcPr marL="9525" marR="9525" marT="9525">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CCCCC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 sz="800" b="1" i="0" u="none" strike="noStrike">
                            <a:solidFill>
                              <a:srgbClr val="001A54"/>
                            </a:solidFill>
                            <a:effectLst/>
                            <a:latin typeface="Arial" panose="020B0604020202020204" pitchFamily="34" charset="0"/>
                          </a:rPr>
                          <a:t>Details</a:t>
                        </a:r>
                      </a:p>
                    </a:txBody>
                    <a:tcPr marL="9525" marR="9525" marT="9525">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CCCCC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 sz="800" b="1" i="0" u="none" strike="noStrike">
                            <a:solidFill>
                              <a:srgbClr val="001A54"/>
                            </a:solidFill>
                            <a:effectLst/>
                            <a:latin typeface="Arial" panose="020B0604020202020204" pitchFamily="34" charset="0"/>
                          </a:rPr>
                          <a:t>2022</a:t>
                        </a:r>
                      </a:p>
                    </a:txBody>
                    <a:tcPr marL="72000" marR="9525" marT="9525">
                      <a:lnL w="6350" cap="flat" cmpd="sng" algn="ctr">
                        <a:noFill/>
                        <a:prstDash val="solid"/>
                        <a:round/>
                        <a:headEnd type="none" w="med" len="med"/>
                        <a:tailEnd type="none" w="med" len="med"/>
                      </a:lnL>
                      <a:lnR w="6350" cap="flat" cmpd="sng" algn="ctr">
                        <a:solidFill>
                          <a:srgbClr val="CCCCCC"/>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CCCCC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 sz="800" b="1" i="0" u="none" strike="noStrike">
                            <a:solidFill>
                              <a:srgbClr val="001A54"/>
                            </a:solidFill>
                            <a:effectLst/>
                            <a:latin typeface="Arial" panose="020B0604020202020204" pitchFamily="34" charset="0"/>
                          </a:rPr>
                          <a:t>2023</a:t>
                        </a:r>
                      </a:p>
                    </a:txBody>
                    <a:tcPr marL="72000" marR="9525" marT="9525">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CCCCC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 sz="800" b="1" i="0" u="none" strike="noStrike">
                            <a:solidFill>
                              <a:srgbClr val="001A54"/>
                            </a:solidFill>
                            <a:effectLst/>
                            <a:latin typeface="Arial" panose="020B0604020202020204" pitchFamily="34" charset="0"/>
                          </a:rPr>
                          <a:t>2024</a:t>
                        </a:r>
                      </a:p>
                    </a:txBody>
                    <a:tcPr marL="72000" marR="9525" marT="9525">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CCCCC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 sz="800" b="1" i="0" u="none" strike="noStrike">
                            <a:solidFill>
                              <a:srgbClr val="001A54"/>
                            </a:solidFill>
                            <a:effectLst/>
                            <a:latin typeface="Arial" panose="020B0604020202020204" pitchFamily="34" charset="0"/>
                          </a:rPr>
                          <a:t>2025</a:t>
                        </a:r>
                      </a:p>
                    </a:txBody>
                    <a:tcPr marL="72000" marR="9525" marT="9525">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CCCCC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 sz="800" b="1" i="0" u="none" strike="noStrike">
                            <a:solidFill>
                              <a:srgbClr val="001A54"/>
                            </a:solidFill>
                            <a:effectLst/>
                            <a:latin typeface="Arial" panose="020B0604020202020204" pitchFamily="34" charset="0"/>
                          </a:rPr>
                          <a:t>2026</a:t>
                        </a:r>
                      </a:p>
                    </a:txBody>
                    <a:tcPr marL="72000" marR="9525" marT="9525">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CCCCC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 sz="800" b="1" i="0" u="none" strike="noStrike">
                            <a:solidFill>
                              <a:srgbClr val="001A54"/>
                            </a:solidFill>
                            <a:effectLst/>
                            <a:latin typeface="Arial" panose="020B0604020202020204" pitchFamily="34" charset="0"/>
                          </a:rPr>
                          <a:t>2027</a:t>
                        </a:r>
                      </a:p>
                    </a:txBody>
                    <a:tcPr marL="72000" marR="9525" marT="9525">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CCCCC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 sz="800" b="1" i="0" u="none" strike="noStrike">
                            <a:solidFill>
                              <a:srgbClr val="001A54"/>
                            </a:solidFill>
                            <a:effectLst/>
                            <a:latin typeface="Arial" panose="020B0604020202020204" pitchFamily="34" charset="0"/>
                          </a:rPr>
                          <a:t>2028</a:t>
                        </a:r>
                      </a:p>
                    </a:txBody>
                    <a:tcPr marL="72000" marR="9525" marT="9525">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CCCCC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 sz="800" b="1" i="0" u="none" strike="noStrike">
                            <a:solidFill>
                              <a:srgbClr val="001A54"/>
                            </a:solidFill>
                            <a:effectLst/>
                            <a:latin typeface="Arial" panose="020B0604020202020204" pitchFamily="34" charset="0"/>
                          </a:rPr>
                          <a:t>2029</a:t>
                        </a:r>
                      </a:p>
                    </a:txBody>
                    <a:tcPr marL="72000" marR="9525" marT="9525">
                      <a:lnL w="6350" cap="flat" cmpd="sng" algn="ctr">
                        <a:solidFill>
                          <a:srgbClr val="CCCCCC"/>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CCCCC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rowSpan="2">
                    <a:txBody>
                      <a:bodyPr/>
                      <a:lstStyle/>
                      <a:p>
                        <a:pPr marL="0" indent="0" algn="l">
                          <a:buClr>
                            <a:schemeClr val="tx1"/>
                          </a:buClr>
                          <a:buSzPct val="70000"/>
                          <a:buFont typeface="Arial" pitchFamily="34" charset="0"/>
                          <a:buNone/>
                        </a:pPr>
                        <a:r>
                          <a:rPr lang="en" sz="800" b="1" dirty="0">
                            <a:solidFill>
                              <a:srgbClr val="001A54"/>
                            </a:solidFill>
                            <a:latin typeface="Arial" panose="020B0604020202020204" pitchFamily="34" charset="0"/>
                            <a:ea typeface="Open Sans Light" panose="020B0306030504020204" pitchFamily="34" charset="0"/>
                            <a:cs typeface="Arial" panose="020B0604020202020204" pitchFamily="34" charset="0"/>
                          </a:rPr>
                          <a:t>Global</a:t>
                        </a:r>
                      </a:p>
                      <a:p>
                        <a:pPr marL="0" indent="0" algn="l">
                          <a:buClr>
                            <a:schemeClr val="tx1"/>
                          </a:buClr>
                          <a:buSzPct val="70000"/>
                          <a:buFont typeface="Arial" pitchFamily="34" charset="0"/>
                          <a:buNone/>
                        </a:pPr>
                        <a:endParaRPr lang="en-US" sz="800" b="1" dirty="0">
                          <a:solidFill>
                            <a:srgbClr val="001A54"/>
                          </a:solidFill>
                          <a:latin typeface="Arial" panose="020B0604020202020204" pitchFamily="34" charset="0"/>
                          <a:ea typeface="Open Sans Light" panose="020B0306030504020204" pitchFamily="34" charset="0"/>
                          <a:cs typeface="Arial" panose="020B0604020202020204" pitchFamily="34" charset="0"/>
                        </a:endParaRPr>
                      </a:p>
                      <a:p>
                        <a:pPr marL="0" indent="0" algn="l">
                          <a:buClr>
                            <a:schemeClr val="tx1"/>
                          </a:buClr>
                          <a:buSzPct val="70000"/>
                          <a:buFont typeface="Arial" pitchFamily="34" charset="0"/>
                          <a:buNone/>
                        </a:pPr>
                        <a:endParaRPr lang="en-US" sz="800" b="1" dirty="0">
                          <a:solidFill>
                            <a:srgbClr val="001A54"/>
                          </a:solidFill>
                          <a:latin typeface="Arial" panose="020B0604020202020204" pitchFamily="34" charset="0"/>
                          <a:ea typeface="Open Sans Light" panose="020B0306030504020204" pitchFamily="34" charset="0"/>
                          <a:cs typeface="Arial" panose="020B0604020202020204" pitchFamily="34" charset="0"/>
                        </a:endParaRPr>
                      </a:p>
                    </a:txBody>
                    <a:tcPr marL="0" marR="108000"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b"/>
                        <a:r>
                          <a:rPr lang="en" sz="800" b="0" i="0" u="none" strike="noStrike" dirty="0">
                            <a:solidFill>
                              <a:schemeClr val="tx1"/>
                            </a:solidFill>
                            <a:effectLst/>
                            <a:latin typeface="Arial" panose="020B0604020202020204" pitchFamily="34" charset="0"/>
                          </a:rPr>
                          <a:t>ISO/CD 24882</a:t>
                        </a:r>
                      </a:p>
                    </a:txBody>
                    <a:tcPr marL="9525" marR="9525"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 sz="800" b="0" i="0" u="none" strike="noStrike" dirty="0">
                            <a:solidFill>
                              <a:schemeClr val="tx1"/>
                            </a:solidFill>
                            <a:effectLst/>
                            <a:latin typeface="Arial" panose="020B0604020202020204" pitchFamily="34" charset="0"/>
                          </a:rPr>
                          <a:t>Tractors and Agricultural Machinery – Cybersecurity Engineering</a:t>
                        </a:r>
                      </a:p>
                    </a:txBody>
                    <a:tcPr marL="9525" marR="9525"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US" sz="800" b="0" i="0" u="none" strike="noStrike" dirty="0">
                          <a:solidFill>
                            <a:schemeClr val="tx1"/>
                          </a:solidFill>
                          <a:effectLst/>
                          <a:latin typeface="Arial" panose="020B0604020202020204" pitchFamily="34" charset="0"/>
                        </a:endParaRPr>
                      </a:p>
                    </a:txBody>
                    <a:tcPr marL="9525" marR="9525" marT="72000" marB="72000">
                      <a:lnL w="6350" cap="flat" cmpd="sng" algn="ctr">
                        <a:no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US" sz="800" b="0" i="0" u="none" strike="noStrike" dirty="0">
                          <a:solidFill>
                            <a:schemeClr val="tx1"/>
                          </a:solidFill>
                          <a:effectLst/>
                          <a:latin typeface="Arial" panose="020B0604020202020204" pitchFamily="34" charset="0"/>
                        </a:endParaRPr>
                      </a:p>
                    </a:txBody>
                    <a:tcPr marL="9525" marR="9525" marT="72000" marB="7200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a:buClr>
                            <a:schemeClr val="tx1"/>
                          </a:buClr>
                          <a:buSzPct val="70000"/>
                          <a:buFont typeface="Arial" pitchFamily="34" charset="0"/>
                          <a:buNone/>
                        </a:pPr>
                        <a:endParaRPr lang="en-US" sz="800">
                          <a:solidFill>
                            <a:schemeClr val="tx1"/>
                          </a:solidFill>
                          <a:latin typeface="Arial" panose="020B0604020202020204" pitchFamily="34" charset="0"/>
                          <a:ea typeface="Open Sans Light" panose="020B0306030504020204" pitchFamily="34" charset="0"/>
                          <a:cs typeface="Arial" panose="020B0604020202020204" pitchFamily="34" charset="0"/>
                        </a:endParaRPr>
                      </a:p>
                    </a:txBody>
                    <a:tcPr marL="0" marR="108000" marT="72000" marB="7200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a:buClr>
                            <a:schemeClr val="tx1"/>
                          </a:buClr>
                          <a:buSzPct val="70000"/>
                          <a:buFont typeface="Arial" pitchFamily="34" charset="0"/>
                          <a:buNone/>
                        </a:pPr>
                        <a:endParaRPr lang="en-US" sz="800">
                          <a:solidFill>
                            <a:schemeClr val="tx1"/>
                          </a:solidFill>
                          <a:latin typeface="Arial" panose="020B0604020202020204" pitchFamily="34" charset="0"/>
                          <a:ea typeface="Open Sans Light" panose="020B0306030504020204" pitchFamily="34" charset="0"/>
                          <a:cs typeface="Arial" panose="020B0604020202020204" pitchFamily="34" charset="0"/>
                        </a:endParaRPr>
                      </a:p>
                    </a:txBody>
                    <a:tcPr marL="0" marR="108000" marT="72000" marB="7200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a:buClr>
                            <a:schemeClr val="tx1"/>
                          </a:buClr>
                          <a:buSzPct val="70000"/>
                          <a:buFont typeface="Arial" pitchFamily="34" charset="0"/>
                          <a:buNone/>
                        </a:pPr>
                        <a:endParaRPr lang="en-US" sz="800">
                          <a:solidFill>
                            <a:schemeClr val="tx1"/>
                          </a:solidFill>
                          <a:latin typeface="Arial" panose="020B0604020202020204" pitchFamily="34" charset="0"/>
                          <a:ea typeface="Open Sans Light" panose="020B0306030504020204" pitchFamily="34" charset="0"/>
                          <a:cs typeface="Arial" panose="020B0604020202020204" pitchFamily="34" charset="0"/>
                        </a:endParaRPr>
                      </a:p>
                    </a:txBody>
                    <a:tcPr marL="0" marR="108000" marT="72000" marB="7200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a:buClr>
                            <a:schemeClr val="tx1"/>
                          </a:buClr>
                          <a:buSzPct val="70000"/>
                          <a:buFont typeface="Arial" pitchFamily="34" charset="0"/>
                          <a:buNone/>
                        </a:pPr>
                        <a:endParaRPr lang="en-US" sz="800">
                          <a:solidFill>
                            <a:schemeClr val="tx1"/>
                          </a:solidFill>
                          <a:latin typeface="Arial" panose="020B0604020202020204" pitchFamily="34" charset="0"/>
                          <a:ea typeface="Open Sans Light" panose="020B0306030504020204" pitchFamily="34" charset="0"/>
                          <a:cs typeface="Arial" panose="020B0604020202020204" pitchFamily="34" charset="0"/>
                        </a:endParaRPr>
                      </a:p>
                    </a:txBody>
                    <a:tcPr marL="0" marR="108000" marT="72000" marB="7200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a:buClr>
                            <a:schemeClr val="tx1"/>
                          </a:buClr>
                          <a:buSzPct val="70000"/>
                          <a:buFont typeface="Arial" pitchFamily="34" charset="0"/>
                          <a:buNone/>
                        </a:pPr>
                        <a:endParaRPr lang="en-US" sz="800">
                          <a:solidFill>
                            <a:schemeClr val="tx1"/>
                          </a:solidFill>
                          <a:latin typeface="Arial" panose="020B0604020202020204" pitchFamily="34" charset="0"/>
                          <a:ea typeface="Open Sans Light" panose="020B0306030504020204" pitchFamily="34" charset="0"/>
                          <a:cs typeface="Arial" panose="020B0604020202020204" pitchFamily="34" charset="0"/>
                        </a:endParaRPr>
                      </a:p>
                    </a:txBody>
                    <a:tcPr marL="0" marR="108000" marT="72000" marB="7200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a:buClr>
                            <a:schemeClr val="tx1"/>
                          </a:buClr>
                          <a:buSzPct val="70000"/>
                          <a:buFont typeface="Arial" pitchFamily="34" charset="0"/>
                          <a:buNone/>
                        </a:pPr>
                        <a:endParaRPr lang="en-US" sz="800">
                          <a:solidFill>
                            <a:schemeClr val="tx1"/>
                          </a:solidFill>
                          <a:latin typeface="Arial" panose="020B0604020202020204" pitchFamily="34" charset="0"/>
                          <a:ea typeface="Open Sans Light" panose="020B0306030504020204" pitchFamily="34" charset="0"/>
                          <a:cs typeface="Arial" panose="020B0604020202020204" pitchFamily="34" charset="0"/>
                        </a:endParaRPr>
                      </a:p>
                    </a:txBody>
                    <a:tcPr marL="0" marR="108000" marT="72000" marB="72000">
                      <a:lnL w="6350" cap="flat" cmpd="sng" algn="ctr">
                        <a:solidFill>
                          <a:srgbClr val="CCCCCC"/>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56223248"/>
                    </a:ext>
                  </a:extLst>
                </a:tr>
                <a:tr h="0">
                  <a:tc vMerge="1">
                    <a:txBody>
                      <a:bodyPr/>
                      <a:lstStyle/>
                      <a:p>
                        <a:endParaRPr/>
                      </a:p>
                    </a:txBody>
                    <a:tcPr marL="0" marR="108000" marT="54000" marB="72000">
                      <a:lnL w="6350" cap="flat" cmpd="sng" algn="ctr">
                        <a:solidFill>
                          <a:srgbClr val="FFFFFF"/>
                        </a:solid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001A54"/>
                        </a:solidFill>
                        <a:prstDash val="solid"/>
                        <a:round/>
                        <a:headEnd type="none" w="med" len="med"/>
                        <a:tailEnd type="none" w="med" len="med"/>
                      </a:lnT>
                      <a:lnB w="6350" cap="flat" cmpd="sng" algn="ctr">
                        <a:solidFill>
                          <a:srgbClr val="001A54"/>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b"/>
                        <a:r>
                          <a:rPr lang="en" sz="800" b="0" i="0" u="none" strike="noStrike" dirty="0">
                            <a:solidFill>
                              <a:schemeClr val="tx1"/>
                            </a:solidFill>
                            <a:effectLst/>
                            <a:latin typeface="Arial" panose="020B0604020202020204" pitchFamily="34" charset="0"/>
                          </a:rPr>
                          <a:t>ISO/SAE 21434</a:t>
                        </a:r>
                      </a:p>
                    </a:txBody>
                    <a:tcPr marL="9525" marR="9525"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 sz="800" b="0" i="0" u="none" strike="noStrike" dirty="0">
                            <a:solidFill>
                              <a:schemeClr val="tx1"/>
                            </a:solidFill>
                            <a:effectLst/>
                            <a:latin typeface="Arial" panose="020B0604020202020204" pitchFamily="34" charset="0"/>
                          </a:rPr>
                          <a:t>Cybersecurity for Road Vehicles</a:t>
                        </a:r>
                      </a:p>
                    </a:txBody>
                    <a:tcPr marL="9525" marR="9525"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US" sz="800" b="0" i="0" u="none" strike="noStrike" dirty="0">
                          <a:solidFill>
                            <a:schemeClr val="tx1"/>
                          </a:solidFill>
                          <a:effectLst/>
                          <a:latin typeface="Arial" panose="020B0604020202020204" pitchFamily="34" charset="0"/>
                        </a:endParaRPr>
                      </a:p>
                    </a:txBody>
                    <a:tcPr marL="9525" marR="9525" marT="72000" marB="72000">
                      <a:lnL w="6350" cap="flat" cmpd="sng" algn="ctr">
                        <a:no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US" sz="800" b="0" i="0" u="none" strike="noStrike" dirty="0">
                          <a:solidFill>
                            <a:schemeClr val="tx1"/>
                          </a:solidFill>
                          <a:effectLst/>
                          <a:latin typeface="Arial" panose="020B0604020202020204" pitchFamily="34" charset="0"/>
                        </a:endParaRPr>
                      </a:p>
                    </a:txBody>
                    <a:tcPr marL="9525" marR="9525" marT="72000" marB="7200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a:buClr>
                            <a:schemeClr val="tx1"/>
                          </a:buClr>
                          <a:buSzPct val="70000"/>
                          <a:buFont typeface="Arial" pitchFamily="34" charset="0"/>
                          <a:buNone/>
                        </a:pPr>
                        <a:endParaRPr lang="en-US" sz="800" dirty="0">
                          <a:solidFill>
                            <a:schemeClr val="tx1"/>
                          </a:solidFill>
                          <a:latin typeface="Arial" panose="020B0604020202020204" pitchFamily="34" charset="0"/>
                          <a:ea typeface="Open Sans Light" panose="020B0306030504020204" pitchFamily="34" charset="0"/>
                          <a:cs typeface="Arial" panose="020B0604020202020204" pitchFamily="34" charset="0"/>
                        </a:endParaRPr>
                      </a:p>
                    </a:txBody>
                    <a:tcPr marL="0" marR="108000" marT="72000" marB="7200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a:buClr>
                            <a:schemeClr val="tx1"/>
                          </a:buClr>
                          <a:buSzPct val="70000"/>
                          <a:buFont typeface="Arial" pitchFamily="34" charset="0"/>
                          <a:buNone/>
                        </a:pPr>
                        <a:endParaRPr lang="en-US" sz="800" dirty="0">
                          <a:solidFill>
                            <a:schemeClr val="tx1"/>
                          </a:solidFill>
                          <a:latin typeface="Arial" panose="020B0604020202020204" pitchFamily="34" charset="0"/>
                          <a:ea typeface="Open Sans Light" panose="020B0306030504020204" pitchFamily="34" charset="0"/>
                          <a:cs typeface="Arial" panose="020B0604020202020204" pitchFamily="34" charset="0"/>
                        </a:endParaRPr>
                      </a:p>
                    </a:txBody>
                    <a:tcPr marL="0" marR="108000" marT="72000" marB="7200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a:buClr>
                            <a:schemeClr val="tx1"/>
                          </a:buClr>
                          <a:buSzPct val="70000"/>
                          <a:buFont typeface="Arial" pitchFamily="34" charset="0"/>
                          <a:buNone/>
                        </a:pPr>
                        <a:endParaRPr lang="en-US" sz="800" dirty="0">
                          <a:solidFill>
                            <a:schemeClr val="tx1"/>
                          </a:solidFill>
                          <a:latin typeface="Arial" panose="020B0604020202020204" pitchFamily="34" charset="0"/>
                          <a:ea typeface="Open Sans Light" panose="020B0306030504020204" pitchFamily="34" charset="0"/>
                          <a:cs typeface="Arial" panose="020B0604020202020204" pitchFamily="34" charset="0"/>
                        </a:endParaRPr>
                      </a:p>
                    </a:txBody>
                    <a:tcPr marL="0" marR="108000" marT="72000" marB="7200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a:buClr>
                            <a:schemeClr val="tx1"/>
                          </a:buClr>
                          <a:buSzPct val="70000"/>
                          <a:buFont typeface="Arial" pitchFamily="34" charset="0"/>
                          <a:buNone/>
                        </a:pPr>
                        <a:endParaRPr lang="en-US" sz="800" dirty="0">
                          <a:solidFill>
                            <a:schemeClr val="tx1"/>
                          </a:solidFill>
                          <a:latin typeface="Arial" panose="020B0604020202020204" pitchFamily="34" charset="0"/>
                          <a:ea typeface="Open Sans Light" panose="020B0306030504020204" pitchFamily="34" charset="0"/>
                          <a:cs typeface="Arial" panose="020B0604020202020204" pitchFamily="34" charset="0"/>
                        </a:endParaRPr>
                      </a:p>
                    </a:txBody>
                    <a:tcPr marL="0" marR="108000" marT="72000" marB="7200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a:buClr>
                            <a:schemeClr val="tx1"/>
                          </a:buClr>
                          <a:buSzPct val="70000"/>
                          <a:buFont typeface="Arial" pitchFamily="34" charset="0"/>
                          <a:buNone/>
                        </a:pPr>
                        <a:endParaRPr lang="en-US" sz="800" dirty="0">
                          <a:solidFill>
                            <a:schemeClr val="tx1"/>
                          </a:solidFill>
                          <a:latin typeface="Arial" panose="020B0604020202020204" pitchFamily="34" charset="0"/>
                          <a:ea typeface="Open Sans Light" panose="020B0306030504020204" pitchFamily="34" charset="0"/>
                          <a:cs typeface="Arial" panose="020B0604020202020204" pitchFamily="34" charset="0"/>
                        </a:endParaRPr>
                      </a:p>
                    </a:txBody>
                    <a:tcPr marL="0" marR="108000" marT="72000" marB="7200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a:buClr>
                            <a:schemeClr val="tx1"/>
                          </a:buClr>
                          <a:buSzPct val="70000"/>
                          <a:buFont typeface="Arial" pitchFamily="34" charset="0"/>
                          <a:buNone/>
                        </a:pPr>
                        <a:endParaRPr lang="en-US" sz="800" dirty="0">
                          <a:solidFill>
                            <a:schemeClr val="tx1"/>
                          </a:solidFill>
                          <a:latin typeface="Arial" panose="020B0604020202020204" pitchFamily="34" charset="0"/>
                          <a:ea typeface="Open Sans Light" panose="020B0306030504020204" pitchFamily="34" charset="0"/>
                          <a:cs typeface="Arial" panose="020B0604020202020204" pitchFamily="34" charset="0"/>
                        </a:endParaRPr>
                      </a:p>
                    </a:txBody>
                    <a:tcPr marL="0" marR="108000" marT="72000" marB="72000">
                      <a:lnL w="6350" cap="flat" cmpd="sng" algn="ctr">
                        <a:solidFill>
                          <a:srgbClr val="CCCCCC"/>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0">
                  <a:tc>
                    <a:txBody>
                      <a:bodyPr/>
                      <a:lstStyle/>
                      <a:p>
                        <a:pPr algn="l" fontAlgn="b"/>
                        <a:r>
                          <a:rPr lang="en" sz="800" b="1" i="0" u="none" strike="noStrike">
                            <a:effectLst/>
                            <a:latin typeface="Arial" panose="020B0604020202020204" pitchFamily="34" charset="0"/>
                          </a:rPr>
                          <a:t>UNECE WP29</a:t>
                        </a:r>
                      </a:p>
                    </a:txBody>
                    <a:tcPr marL="9525" marR="9525"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b"/>
                        <a:r>
                          <a:rPr lang="en" sz="800" b="0" i="0" u="none" strike="noStrike" dirty="0">
                            <a:solidFill>
                              <a:schemeClr val="bg1"/>
                            </a:solidFill>
                            <a:effectLst/>
                            <a:latin typeface="Arial" panose="020B0604020202020204" pitchFamily="34" charset="0"/>
                          </a:rPr>
                          <a:t>R155</a:t>
                        </a:r>
                      </a:p>
                    </a:txBody>
                    <a:tcPr marL="9525" marR="9525"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l" fontAlgn="b"/>
                        <a:r>
                          <a:rPr lang="en" sz="800" b="0" i="0" u="none" strike="noStrike">
                            <a:solidFill>
                              <a:schemeClr val="bg1"/>
                            </a:solidFill>
                            <a:effectLst/>
                            <a:latin typeface="Arial" panose="020B0604020202020204" pitchFamily="34" charset="0"/>
                          </a:rPr>
                          <a:t>Approval for M&amp;N vehicle types </a:t>
                        </a:r>
                        <a:br>
                          <a:rPr lang="en-US" sz="800" b="0" i="0" u="none" strike="noStrike">
                            <a:solidFill>
                              <a:schemeClr val="bg1"/>
                            </a:solidFill>
                            <a:effectLst/>
                            <a:latin typeface="Arial" panose="020B0604020202020204" pitchFamily="34" charset="0"/>
                          </a:rPr>
                        </a:br>
                        <a:r>
                          <a:rPr lang="en" sz="800" b="0" i="0" u="none" strike="noStrike">
                            <a:solidFill>
                              <a:schemeClr val="bg1"/>
                            </a:solidFill>
                            <a:effectLst/>
                            <a:latin typeface="Arial" panose="020B0604020202020204" pitchFamily="34" charset="0"/>
                          </a:rPr>
                          <a:t>and OEMs according ISO21434</a:t>
                        </a:r>
                      </a:p>
                    </a:txBody>
                    <a:tcPr marL="9525" marR="9525"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l" fontAlgn="b"/>
                        <a:endParaRPr lang="en-US" sz="800" b="0" i="0" u="none" strike="noStrike">
                          <a:solidFill>
                            <a:schemeClr val="bg1"/>
                          </a:solidFill>
                          <a:effectLst/>
                          <a:latin typeface="Arial" panose="020B0604020202020204" pitchFamily="34" charset="0"/>
                        </a:endParaRPr>
                      </a:p>
                    </a:txBody>
                    <a:tcPr marL="9525" marR="9525" marT="72000" marB="72000">
                      <a:lnL w="6350" cap="flat" cmpd="sng" algn="ctr">
                        <a:no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l" fontAlgn="b"/>
                        <a:endParaRPr lang="en-US" sz="800" b="0" i="0" u="none" strike="noStrike">
                          <a:solidFill>
                            <a:schemeClr val="bg1"/>
                          </a:solidFill>
                          <a:effectLst/>
                          <a:latin typeface="Arial" panose="020B0604020202020204" pitchFamily="34" charset="0"/>
                        </a:endParaRPr>
                      </a:p>
                    </a:txBody>
                    <a:tcPr marL="9525" marR="9525" marT="72000" marB="7200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l" fontAlgn="b"/>
                        <a:endParaRPr lang="en-US" sz="800" b="0" i="0" u="none" strike="noStrike">
                          <a:solidFill>
                            <a:schemeClr val="bg1"/>
                          </a:solidFill>
                          <a:effectLst/>
                          <a:latin typeface="Arial" panose="020B0604020202020204" pitchFamily="34" charset="0"/>
                        </a:endParaRPr>
                      </a:p>
                    </a:txBody>
                    <a:tcPr marL="9525" marR="9525" marT="72000" marB="7200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l" fontAlgn="b"/>
                        <a:endParaRPr lang="en-US" sz="800" b="0" i="0" u="none" strike="noStrike">
                          <a:solidFill>
                            <a:schemeClr val="bg1"/>
                          </a:solidFill>
                          <a:effectLst/>
                          <a:latin typeface="Arial" panose="020B0604020202020204" pitchFamily="34" charset="0"/>
                        </a:endParaRPr>
                      </a:p>
                    </a:txBody>
                    <a:tcPr marL="9525" marR="9525" marT="72000" marB="7200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l" fontAlgn="b"/>
                        <a:endParaRPr lang="en-US" sz="800" b="0" i="0" u="none" strike="noStrike" dirty="0">
                          <a:solidFill>
                            <a:schemeClr val="bg1"/>
                          </a:solidFill>
                          <a:effectLst/>
                          <a:latin typeface="Arial" panose="020B0604020202020204" pitchFamily="34" charset="0"/>
                        </a:endParaRPr>
                      </a:p>
                    </a:txBody>
                    <a:tcPr marL="9525" marR="9525" marT="72000" marB="7200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l" fontAlgn="b"/>
                        <a:endParaRPr lang="en-US" sz="800" b="0" i="0" u="none" strike="noStrike" dirty="0">
                          <a:solidFill>
                            <a:schemeClr val="bg1"/>
                          </a:solidFill>
                          <a:effectLst/>
                          <a:latin typeface="Arial" panose="020B0604020202020204" pitchFamily="34" charset="0"/>
                        </a:endParaRPr>
                      </a:p>
                    </a:txBody>
                    <a:tcPr marL="9525" marR="9525" marT="72000" marB="7200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l" fontAlgn="b"/>
                        <a:endParaRPr lang="en-US" sz="800" b="0" i="0" u="none" strike="noStrike" dirty="0">
                          <a:solidFill>
                            <a:schemeClr val="bg1"/>
                          </a:solidFill>
                          <a:effectLst/>
                          <a:latin typeface="Arial" panose="020B0604020202020204" pitchFamily="34" charset="0"/>
                        </a:endParaRPr>
                      </a:p>
                    </a:txBody>
                    <a:tcPr marL="9525" marR="9525" marT="72000" marB="7200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l" fontAlgn="b"/>
                        <a:endParaRPr lang="en-US" sz="800" b="0" i="0" u="none" strike="noStrike">
                          <a:solidFill>
                            <a:schemeClr val="bg1"/>
                          </a:solidFill>
                          <a:effectLst/>
                          <a:latin typeface="Arial" panose="020B0604020202020204" pitchFamily="34" charset="0"/>
                        </a:endParaRPr>
                      </a:p>
                    </a:txBody>
                    <a:tcPr marL="9525" marR="9525" marT="72000" marB="72000">
                      <a:lnL w="6350" cap="flat" cmpd="sng" algn="ctr">
                        <a:solidFill>
                          <a:srgbClr val="CCCCCC"/>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1803441304"/>
                    </a:ext>
                  </a:extLst>
                </a:tr>
                <a:tr h="0">
                  <a:tc rowSpan="4">
                    <a:txBody>
                      <a:bodyPr/>
                      <a:lstStyle/>
                      <a:p>
                        <a:pPr marL="0" indent="0" algn="l">
                          <a:buClr>
                            <a:schemeClr val="tx1"/>
                          </a:buClr>
                          <a:buSzPct val="70000"/>
                          <a:buFont typeface="Arial" pitchFamily="34" charset="0"/>
                          <a:buNone/>
                        </a:pPr>
                        <a:r>
                          <a:rPr lang="en" sz="800" b="1">
                            <a:solidFill>
                              <a:srgbClr val="001A54"/>
                            </a:solidFill>
                            <a:latin typeface="Arial" panose="020B0604020202020204" pitchFamily="34" charset="0"/>
                            <a:ea typeface="Open Sans Light" panose="020B0306030504020204" pitchFamily="34" charset="0"/>
                            <a:cs typeface="Arial" panose="020B0604020202020204" pitchFamily="34" charset="0"/>
                          </a:rPr>
                          <a:t>EU</a:t>
                        </a:r>
                      </a:p>
                    </a:txBody>
                    <a:tcPr marL="0" marR="108000"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b"/>
                        <a:r>
                          <a:rPr lang="en" sz="800" b="0" i="0" u="none" strike="noStrike" dirty="0">
                            <a:solidFill>
                              <a:schemeClr val="tx1"/>
                            </a:solidFill>
                            <a:effectLst/>
                            <a:latin typeface="Arial" panose="020B0604020202020204" pitchFamily="34" charset="0"/>
                          </a:rPr>
                          <a:t>EU Data Act</a:t>
                        </a:r>
                      </a:p>
                    </a:txBody>
                    <a:tcPr marL="9525" marR="9525"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 sz="800" b="0" i="0" u="none" strike="noStrike" dirty="0">
                            <a:solidFill>
                              <a:schemeClr val="tx1"/>
                            </a:solidFill>
                            <a:effectLst/>
                            <a:latin typeface="Arial" panose="020B0604020202020204" pitchFamily="34" charset="0"/>
                          </a:rPr>
                          <a:t>Fair access to and use of data</a:t>
                        </a:r>
                      </a:p>
                    </a:txBody>
                    <a:tcPr marL="9525" marR="9525"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a:buClr>
                            <a:schemeClr val="tx1"/>
                          </a:buClr>
                          <a:buSzPct val="70000"/>
                          <a:buFont typeface="Arial" pitchFamily="34" charset="0"/>
                          <a:buNone/>
                        </a:pPr>
                        <a:endParaRPr lang="en-US" sz="800" dirty="0">
                          <a:solidFill>
                            <a:schemeClr val="bg1"/>
                          </a:solidFill>
                          <a:latin typeface="Arial" panose="020B0604020202020204" pitchFamily="34" charset="0"/>
                          <a:ea typeface="Open Sans Light" panose="020B0306030504020204" pitchFamily="34" charset="0"/>
                          <a:cs typeface="Arial" panose="020B0604020202020204" pitchFamily="34" charset="0"/>
                        </a:endParaRPr>
                      </a:p>
                    </a:txBody>
                    <a:tcPr marL="0" marR="108000" marT="72000" marB="72000">
                      <a:lnL w="6350" cap="flat" cmpd="sng" algn="ctr">
                        <a:no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a:buClr>
                            <a:schemeClr val="tx1"/>
                          </a:buClr>
                          <a:buSzPct val="70000"/>
                          <a:buFont typeface="Arial" pitchFamily="34" charset="0"/>
                          <a:buNone/>
                        </a:pPr>
                        <a:endParaRPr lang="en-US" sz="800" dirty="0">
                          <a:solidFill>
                            <a:schemeClr val="bg1"/>
                          </a:solidFill>
                          <a:latin typeface="Arial" panose="020B0604020202020204" pitchFamily="34" charset="0"/>
                          <a:ea typeface="Open Sans Light" panose="020B0306030504020204" pitchFamily="34" charset="0"/>
                          <a:cs typeface="Arial" panose="020B0604020202020204" pitchFamily="34" charset="0"/>
                        </a:endParaRPr>
                      </a:p>
                    </a:txBody>
                    <a:tcPr marL="0" marR="108000" marT="72000" marB="7200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a:buClr>
                            <a:schemeClr val="tx1"/>
                          </a:buClr>
                          <a:buSzPct val="70000"/>
                          <a:buFont typeface="Arial" pitchFamily="34" charset="0"/>
                          <a:buNone/>
                        </a:pPr>
                        <a:endParaRPr lang="en-US" sz="800" dirty="0">
                          <a:solidFill>
                            <a:schemeClr val="bg1"/>
                          </a:solidFill>
                          <a:latin typeface="Arial" panose="020B0604020202020204" pitchFamily="34" charset="0"/>
                          <a:ea typeface="Open Sans Light" panose="020B0306030504020204" pitchFamily="34" charset="0"/>
                          <a:cs typeface="Arial" panose="020B0604020202020204" pitchFamily="34" charset="0"/>
                        </a:endParaRPr>
                      </a:p>
                    </a:txBody>
                    <a:tcPr marL="0" marR="108000" marT="72000" marB="7200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a:buClr>
                            <a:schemeClr val="tx1"/>
                          </a:buClr>
                          <a:buSzPct val="70000"/>
                          <a:buFont typeface="Arial" pitchFamily="34" charset="0"/>
                          <a:buNone/>
                        </a:pPr>
                        <a:endParaRPr lang="en-US" sz="800" dirty="0">
                          <a:solidFill>
                            <a:schemeClr val="bg1"/>
                          </a:solidFill>
                          <a:latin typeface="Arial" panose="020B0604020202020204" pitchFamily="34" charset="0"/>
                          <a:ea typeface="Open Sans Light" panose="020B0306030504020204" pitchFamily="34" charset="0"/>
                          <a:cs typeface="Arial" panose="020B0604020202020204" pitchFamily="34" charset="0"/>
                        </a:endParaRPr>
                      </a:p>
                    </a:txBody>
                    <a:tcPr marL="0" marR="108000" marT="72000" marB="7200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a:buClr>
                            <a:schemeClr val="tx1"/>
                          </a:buClr>
                          <a:buSzPct val="70000"/>
                          <a:buFont typeface="Arial" pitchFamily="34" charset="0"/>
                          <a:buNone/>
                        </a:pPr>
                        <a:endParaRPr lang="en-US" sz="800" dirty="0">
                          <a:solidFill>
                            <a:schemeClr val="bg1"/>
                          </a:solidFill>
                          <a:latin typeface="Arial" panose="020B0604020202020204" pitchFamily="34" charset="0"/>
                          <a:ea typeface="Open Sans Light" panose="020B0306030504020204" pitchFamily="34" charset="0"/>
                          <a:cs typeface="Arial" panose="020B0604020202020204" pitchFamily="34" charset="0"/>
                        </a:endParaRPr>
                      </a:p>
                    </a:txBody>
                    <a:tcPr marL="0" marR="108000" marT="72000" marB="7200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a:buClr>
                            <a:schemeClr val="tx1"/>
                          </a:buClr>
                          <a:buSzPct val="70000"/>
                          <a:buFont typeface="Arial" pitchFamily="34" charset="0"/>
                          <a:buNone/>
                        </a:pPr>
                        <a:endParaRPr lang="en-US" sz="800" dirty="0">
                          <a:solidFill>
                            <a:schemeClr val="bg1"/>
                          </a:solidFill>
                          <a:latin typeface="Arial" panose="020B0604020202020204" pitchFamily="34" charset="0"/>
                          <a:ea typeface="Open Sans Light" panose="020B0306030504020204" pitchFamily="34" charset="0"/>
                          <a:cs typeface="Arial" panose="020B0604020202020204" pitchFamily="34" charset="0"/>
                        </a:endParaRPr>
                      </a:p>
                    </a:txBody>
                    <a:tcPr marL="0" marR="108000" marT="72000" marB="7200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a:buClr>
                            <a:schemeClr val="tx1"/>
                          </a:buClr>
                          <a:buSzPct val="70000"/>
                          <a:buFont typeface="Arial" pitchFamily="34" charset="0"/>
                          <a:buNone/>
                        </a:pPr>
                        <a:endParaRPr lang="en-US" sz="800" dirty="0">
                          <a:solidFill>
                            <a:schemeClr val="bg1"/>
                          </a:solidFill>
                          <a:latin typeface="Arial" panose="020B0604020202020204" pitchFamily="34" charset="0"/>
                          <a:ea typeface="Open Sans Light" panose="020B0306030504020204" pitchFamily="34" charset="0"/>
                          <a:cs typeface="Arial" panose="020B0604020202020204" pitchFamily="34" charset="0"/>
                        </a:endParaRPr>
                      </a:p>
                    </a:txBody>
                    <a:tcPr marL="0" marR="108000" marT="72000" marB="7200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a:buClr>
                            <a:schemeClr val="tx1"/>
                          </a:buClr>
                          <a:buSzPct val="70000"/>
                          <a:buFont typeface="Arial" pitchFamily="34" charset="0"/>
                          <a:buNone/>
                        </a:pPr>
                        <a:endParaRPr lang="en-US" sz="800" dirty="0">
                          <a:solidFill>
                            <a:schemeClr val="bg1"/>
                          </a:solidFill>
                          <a:latin typeface="Arial" panose="020B0604020202020204" pitchFamily="34" charset="0"/>
                          <a:ea typeface="Open Sans Light" panose="020B0306030504020204" pitchFamily="34" charset="0"/>
                          <a:cs typeface="Arial" panose="020B0604020202020204" pitchFamily="34" charset="0"/>
                        </a:endParaRPr>
                      </a:p>
                    </a:txBody>
                    <a:tcPr marL="0" marR="108000" marT="72000" marB="72000">
                      <a:lnL w="6350" cap="flat" cmpd="sng" algn="ctr">
                        <a:solidFill>
                          <a:srgbClr val="CCCCCC"/>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63220657"/>
                    </a:ext>
                  </a:extLst>
                </a:tr>
                <a:tr h="0">
                  <a:tc vMerge="1">
                    <a:txBody>
                      <a:bodyPr/>
                      <a:lstStyle/>
                      <a:p>
                        <a:endParaRPr lang="de-DE"/>
                      </a:p>
                    </a:txBody>
                    <a:tcPr/>
                  </a:tc>
                  <a:tc>
                    <a:txBody>
                      <a:bodyPr/>
                      <a:lstStyle/>
                      <a:p>
                        <a:pPr algn="l" fontAlgn="b"/>
                        <a:r>
                          <a:rPr lang="en" sz="800" b="0" i="0" u="none" strike="noStrike" dirty="0">
                            <a:effectLst/>
                            <a:latin typeface="Arial" panose="020B0604020202020204" pitchFamily="34" charset="0"/>
                          </a:rPr>
                          <a:t>New Machinery Regulations</a:t>
                        </a:r>
                      </a:p>
                    </a:txBody>
                    <a:tcPr marL="9525" marR="9525"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b"/>
                        <a:r>
                          <a:rPr lang="en" sz="800" b="0" i="0" u="none" strike="noStrike" dirty="0">
                            <a:effectLst/>
                            <a:latin typeface="Arial" panose="020B0604020202020204" pitchFamily="34" charset="0"/>
                          </a:rPr>
                          <a:t>Industrial machinery/machinery products</a:t>
                        </a:r>
                      </a:p>
                    </a:txBody>
                    <a:tcPr marL="9525" marR="9525"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l">
                          <a:buClr>
                            <a:schemeClr val="tx1"/>
                          </a:buClr>
                          <a:buSzPct val="70000"/>
                          <a:buFont typeface="Arial" pitchFamily="34" charset="0"/>
                          <a:buNone/>
                        </a:pPr>
                        <a:endParaRPr lang="en-US" sz="800">
                          <a:solidFill>
                            <a:srgbClr val="001A54"/>
                          </a:solidFill>
                          <a:latin typeface="Arial" panose="020B0604020202020204" pitchFamily="34" charset="0"/>
                          <a:ea typeface="Open Sans Light" panose="020B0306030504020204" pitchFamily="34" charset="0"/>
                          <a:cs typeface="Arial" panose="020B0604020202020204" pitchFamily="34" charset="0"/>
                        </a:endParaRPr>
                      </a:p>
                    </a:txBody>
                    <a:tcPr marL="0" marR="108000" marT="72000" marB="72000">
                      <a:lnL w="6350" cap="flat" cmpd="sng" algn="ctr">
                        <a:no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a:buClr>
                            <a:schemeClr val="tx1"/>
                          </a:buClr>
                          <a:buSzPct val="70000"/>
                          <a:buFont typeface="Arial" pitchFamily="34" charset="0"/>
                          <a:buNone/>
                        </a:pPr>
                        <a:endParaRPr lang="en-US" sz="800" dirty="0">
                          <a:solidFill>
                            <a:srgbClr val="001A54"/>
                          </a:solidFill>
                          <a:latin typeface="Arial" panose="020B0604020202020204" pitchFamily="34" charset="0"/>
                          <a:ea typeface="Open Sans Light" panose="020B0306030504020204" pitchFamily="34" charset="0"/>
                          <a:cs typeface="Arial" panose="020B0604020202020204" pitchFamily="34" charset="0"/>
                        </a:endParaRPr>
                      </a:p>
                    </a:txBody>
                    <a:tcPr marL="0" marR="108000" marT="72000" marB="7200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a:buClr>
                            <a:schemeClr val="tx1"/>
                          </a:buClr>
                          <a:buSzPct val="70000"/>
                          <a:buFont typeface="Arial" pitchFamily="34" charset="0"/>
                          <a:buNone/>
                        </a:pPr>
                        <a:endParaRPr lang="en-US" sz="800">
                          <a:solidFill>
                            <a:srgbClr val="001A54"/>
                          </a:solidFill>
                          <a:latin typeface="Arial" panose="020B0604020202020204" pitchFamily="34" charset="0"/>
                          <a:ea typeface="Open Sans Light" panose="020B0306030504020204" pitchFamily="34" charset="0"/>
                          <a:cs typeface="Arial" panose="020B0604020202020204" pitchFamily="34" charset="0"/>
                        </a:endParaRPr>
                      </a:p>
                    </a:txBody>
                    <a:tcPr marL="0" marR="108000" marT="72000" marB="7200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a:buClr>
                            <a:schemeClr val="tx1"/>
                          </a:buClr>
                          <a:buSzPct val="70000"/>
                          <a:buFont typeface="Arial" pitchFamily="34" charset="0"/>
                          <a:buNone/>
                        </a:pPr>
                        <a:endParaRPr lang="en-US" sz="800">
                          <a:solidFill>
                            <a:srgbClr val="001A54"/>
                          </a:solidFill>
                          <a:latin typeface="Arial" panose="020B0604020202020204" pitchFamily="34" charset="0"/>
                          <a:ea typeface="Open Sans Light" panose="020B0306030504020204" pitchFamily="34" charset="0"/>
                          <a:cs typeface="Arial" panose="020B0604020202020204" pitchFamily="34" charset="0"/>
                        </a:endParaRPr>
                      </a:p>
                    </a:txBody>
                    <a:tcPr marL="0" marR="108000" marT="72000" marB="7200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a:buClr>
                            <a:schemeClr val="tx1"/>
                          </a:buClr>
                          <a:buSzPct val="70000"/>
                          <a:buFont typeface="Arial" pitchFamily="34" charset="0"/>
                          <a:buNone/>
                        </a:pPr>
                        <a:endParaRPr lang="en-US" sz="800">
                          <a:solidFill>
                            <a:srgbClr val="001A54"/>
                          </a:solidFill>
                          <a:latin typeface="Arial" panose="020B0604020202020204" pitchFamily="34" charset="0"/>
                          <a:ea typeface="Open Sans Light" panose="020B0306030504020204" pitchFamily="34" charset="0"/>
                          <a:cs typeface="Arial" panose="020B0604020202020204" pitchFamily="34" charset="0"/>
                        </a:endParaRPr>
                      </a:p>
                    </a:txBody>
                    <a:tcPr marL="0" marR="108000" marT="72000" marB="7200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a:buClr>
                            <a:schemeClr val="tx1"/>
                          </a:buClr>
                          <a:buSzPct val="70000"/>
                          <a:buFont typeface="Arial" pitchFamily="34" charset="0"/>
                          <a:buNone/>
                        </a:pPr>
                        <a:endParaRPr lang="en-US" sz="800">
                          <a:solidFill>
                            <a:srgbClr val="001A54"/>
                          </a:solidFill>
                          <a:latin typeface="Arial" panose="020B0604020202020204" pitchFamily="34" charset="0"/>
                          <a:ea typeface="Open Sans Light" panose="020B0306030504020204" pitchFamily="34" charset="0"/>
                          <a:cs typeface="Arial" panose="020B0604020202020204" pitchFamily="34" charset="0"/>
                        </a:endParaRPr>
                      </a:p>
                    </a:txBody>
                    <a:tcPr marL="0" marR="108000" marT="72000" marB="7200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a:buClr>
                            <a:schemeClr val="tx1"/>
                          </a:buClr>
                          <a:buSzPct val="70000"/>
                          <a:buFont typeface="Arial" pitchFamily="34" charset="0"/>
                          <a:buNone/>
                        </a:pPr>
                        <a:endParaRPr lang="en-US" sz="800">
                          <a:solidFill>
                            <a:srgbClr val="001A54"/>
                          </a:solidFill>
                          <a:latin typeface="Arial" panose="020B0604020202020204" pitchFamily="34" charset="0"/>
                          <a:ea typeface="Open Sans Light" panose="020B0306030504020204" pitchFamily="34" charset="0"/>
                          <a:cs typeface="Arial" panose="020B0604020202020204" pitchFamily="34" charset="0"/>
                        </a:endParaRPr>
                      </a:p>
                    </a:txBody>
                    <a:tcPr marL="0" marR="108000" marT="72000" marB="7200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a:buClr>
                            <a:schemeClr val="tx1"/>
                          </a:buClr>
                          <a:buSzPct val="70000"/>
                          <a:buFont typeface="Arial" pitchFamily="34" charset="0"/>
                          <a:buNone/>
                        </a:pPr>
                        <a:endParaRPr lang="en-US" sz="800">
                          <a:solidFill>
                            <a:srgbClr val="001A54"/>
                          </a:solidFill>
                          <a:latin typeface="Arial" panose="020B0604020202020204" pitchFamily="34" charset="0"/>
                          <a:ea typeface="Open Sans Light" panose="020B0306030504020204" pitchFamily="34" charset="0"/>
                          <a:cs typeface="Arial" panose="020B0604020202020204" pitchFamily="34" charset="0"/>
                        </a:endParaRPr>
                      </a:p>
                    </a:txBody>
                    <a:tcPr marL="0" marR="108000" marT="72000" marB="72000">
                      <a:lnL w="6350" cap="flat" cmpd="sng" algn="ctr">
                        <a:solidFill>
                          <a:srgbClr val="CCCCCC"/>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98869345"/>
                    </a:ext>
                  </a:extLst>
                </a:tr>
                <a:tr h="228826">
                  <a:tc vMerge="1">
                    <a:txBody>
                      <a:bodyPr/>
                      <a:lstStyle/>
                      <a:p>
                        <a:endParaRPr/>
                      </a:p>
                    </a:txBody>
                    <a:tcPr marL="0" marR="108000" marT="54000" marB="72000">
                      <a:lnL w="6350" cap="flat" cmpd="sng" algn="ctr">
                        <a:solidFill>
                          <a:srgbClr val="FFFFFF"/>
                        </a:solid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001A54"/>
                        </a:solidFill>
                        <a:prstDash val="solid"/>
                        <a:round/>
                        <a:headEnd type="none" w="med" len="med"/>
                        <a:tailEnd type="none" w="med" len="med"/>
                      </a:lnT>
                      <a:lnB w="6350" cap="flat" cmpd="sng" algn="ctr">
                        <a:solidFill>
                          <a:srgbClr val="001A54"/>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b"/>
                        <a:r>
                          <a:rPr lang="en" sz="800" b="0" i="0" u="none" strike="noStrike">
                            <a:solidFill>
                              <a:schemeClr val="bg1"/>
                            </a:solidFill>
                            <a:effectLst/>
                            <a:latin typeface="Arial" panose="020B0604020202020204" pitchFamily="34" charset="0"/>
                          </a:rPr>
                          <a:t>Cyber Resilience Act (CRA)</a:t>
                        </a:r>
                        <a:br>
                          <a:rPr lang="en-US" sz="800" b="0" i="0" u="none" strike="noStrike">
                            <a:solidFill>
                              <a:schemeClr val="bg1"/>
                            </a:solidFill>
                            <a:effectLst/>
                            <a:latin typeface="Arial" panose="020B0604020202020204" pitchFamily="34" charset="0"/>
                          </a:rPr>
                        </a:br>
                        <a:r>
                          <a:rPr lang="en" sz="800" b="0" i="0" u="none" strike="noStrike">
                            <a:solidFill>
                              <a:schemeClr val="bg1"/>
                            </a:solidFill>
                            <a:effectLst/>
                            <a:latin typeface="Arial" panose="020B0604020202020204" pitchFamily="34" charset="0"/>
                          </a:rPr>
                          <a:t>Regulation EU 2024/2847</a:t>
                        </a:r>
                      </a:p>
                    </a:txBody>
                    <a:tcPr marL="9525" marR="9525"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l" fontAlgn="b"/>
                        <a:r>
                          <a:rPr lang="en" sz="800" b="0" i="0" u="none" strike="noStrike">
                            <a:solidFill>
                              <a:schemeClr val="bg1"/>
                            </a:solidFill>
                            <a:effectLst/>
                            <a:latin typeface="Arial" panose="020B0604020202020204" pitchFamily="34" charset="0"/>
                          </a:rPr>
                          <a:t>cybersecurity requirements for products with digital elements</a:t>
                        </a:r>
                      </a:p>
                    </a:txBody>
                    <a:tcPr marL="9525" marR="9525"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marL="0" indent="0" algn="l">
                          <a:buClr>
                            <a:schemeClr val="tx1"/>
                          </a:buClr>
                          <a:buSzPct val="70000"/>
                          <a:buFont typeface="Arial" pitchFamily="34" charset="0"/>
                          <a:buNone/>
                        </a:pPr>
                        <a:endParaRPr lang="en-US" sz="800">
                          <a:solidFill>
                            <a:schemeClr val="bg1"/>
                          </a:solidFill>
                          <a:latin typeface="Arial" panose="020B0604020202020204" pitchFamily="34" charset="0"/>
                          <a:ea typeface="Open Sans Light" panose="020B0306030504020204" pitchFamily="34" charset="0"/>
                          <a:cs typeface="Arial" panose="020B0604020202020204" pitchFamily="34" charset="0"/>
                        </a:endParaRPr>
                      </a:p>
                    </a:txBody>
                    <a:tcPr marL="0" marR="108000" marT="72000" marB="72000">
                      <a:lnL w="6350" cap="flat" cmpd="sng" algn="ctr">
                        <a:no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marL="0" indent="0" algn="l">
                          <a:buClr>
                            <a:schemeClr val="tx1"/>
                          </a:buClr>
                          <a:buSzPct val="70000"/>
                          <a:buFont typeface="Arial" pitchFamily="34" charset="0"/>
                          <a:buNone/>
                        </a:pPr>
                        <a:endParaRPr lang="en-US" sz="800">
                          <a:solidFill>
                            <a:schemeClr val="bg1"/>
                          </a:solidFill>
                          <a:latin typeface="Arial" panose="020B0604020202020204" pitchFamily="34" charset="0"/>
                          <a:ea typeface="Open Sans Light" panose="020B0306030504020204" pitchFamily="34" charset="0"/>
                          <a:cs typeface="Arial" panose="020B0604020202020204" pitchFamily="34" charset="0"/>
                        </a:endParaRPr>
                      </a:p>
                    </a:txBody>
                    <a:tcPr marL="0" marR="108000" marT="72000" marB="7200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marL="0" indent="0" algn="l">
                          <a:buClr>
                            <a:schemeClr val="tx1"/>
                          </a:buClr>
                          <a:buSzPct val="70000"/>
                          <a:buFont typeface="Arial" pitchFamily="34" charset="0"/>
                          <a:buNone/>
                        </a:pPr>
                        <a:endParaRPr lang="en-US" sz="800">
                          <a:solidFill>
                            <a:schemeClr val="bg1"/>
                          </a:solidFill>
                          <a:latin typeface="Arial" panose="020B0604020202020204" pitchFamily="34" charset="0"/>
                          <a:ea typeface="Open Sans Light" panose="020B0306030504020204" pitchFamily="34" charset="0"/>
                          <a:cs typeface="Arial" panose="020B0604020202020204" pitchFamily="34" charset="0"/>
                        </a:endParaRPr>
                      </a:p>
                    </a:txBody>
                    <a:tcPr marL="0" marR="108000" marT="72000" marB="7200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marL="0" indent="0" algn="l">
                          <a:buClr>
                            <a:schemeClr val="tx1"/>
                          </a:buClr>
                          <a:buSzPct val="70000"/>
                          <a:buFont typeface="Arial" pitchFamily="34" charset="0"/>
                          <a:buNone/>
                        </a:pPr>
                        <a:endParaRPr lang="en-US" sz="800">
                          <a:solidFill>
                            <a:schemeClr val="bg1"/>
                          </a:solidFill>
                          <a:latin typeface="Arial" panose="020B0604020202020204" pitchFamily="34" charset="0"/>
                          <a:ea typeface="Open Sans Light" panose="020B0306030504020204" pitchFamily="34" charset="0"/>
                          <a:cs typeface="Arial" panose="020B0604020202020204" pitchFamily="34" charset="0"/>
                        </a:endParaRPr>
                      </a:p>
                    </a:txBody>
                    <a:tcPr marL="0" marR="108000" marT="72000" marB="7200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marL="0" indent="0" algn="l">
                          <a:buClr>
                            <a:schemeClr val="tx1"/>
                          </a:buClr>
                          <a:buSzPct val="70000"/>
                          <a:buFont typeface="Arial" pitchFamily="34" charset="0"/>
                          <a:buNone/>
                        </a:pPr>
                        <a:endParaRPr lang="en-US" sz="800">
                          <a:solidFill>
                            <a:schemeClr val="bg1"/>
                          </a:solidFill>
                          <a:latin typeface="Arial" panose="020B0604020202020204" pitchFamily="34" charset="0"/>
                          <a:ea typeface="Open Sans Light" panose="020B0306030504020204" pitchFamily="34" charset="0"/>
                          <a:cs typeface="Arial" panose="020B0604020202020204" pitchFamily="34" charset="0"/>
                        </a:endParaRPr>
                      </a:p>
                    </a:txBody>
                    <a:tcPr marL="0" marR="108000" marT="72000" marB="7200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marL="0" marR="0" lvl="0" indent="0" algn="l" defTabSz="863995" rtl="0" eaLnBrk="1" fontAlgn="auto" latinLnBrk="0" hangingPunct="1">
                          <a:lnSpc>
                            <a:spcPct val="100000"/>
                          </a:lnSpc>
                          <a:spcBef>
                            <a:spcPts val="0"/>
                          </a:spcBef>
                          <a:spcAft>
                            <a:spcPts val="0"/>
                          </a:spcAft>
                          <a:buClr>
                            <a:schemeClr val="tx1"/>
                          </a:buClr>
                          <a:buSzPct val="70000"/>
                          <a:buFont typeface="Arial" pitchFamily="34" charset="0"/>
                          <a:buNone/>
                          <a:tabLst/>
                          <a:defRPr/>
                        </a:pPr>
                        <a:endParaRPr lang="en-US" sz="800">
                          <a:solidFill>
                            <a:schemeClr val="bg1"/>
                          </a:solidFill>
                          <a:latin typeface="Arial" panose="020B0604020202020204" pitchFamily="34" charset="0"/>
                          <a:ea typeface="Open Sans Light" panose="020B0306030504020204" pitchFamily="34" charset="0"/>
                          <a:cs typeface="Arial" panose="020B0604020202020204" pitchFamily="34" charset="0"/>
                        </a:endParaRPr>
                      </a:p>
                    </a:txBody>
                    <a:tcPr marL="0" marR="108000" marT="72000" marB="7200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marL="0" indent="0" algn="l">
                          <a:buClr>
                            <a:schemeClr val="tx1"/>
                          </a:buClr>
                          <a:buSzPct val="70000"/>
                          <a:buFont typeface="Arial" pitchFamily="34" charset="0"/>
                          <a:buNone/>
                        </a:pPr>
                        <a:endParaRPr lang="en-US" sz="800">
                          <a:solidFill>
                            <a:schemeClr val="bg1"/>
                          </a:solidFill>
                          <a:latin typeface="Arial" panose="020B0604020202020204" pitchFamily="34" charset="0"/>
                          <a:ea typeface="Open Sans Light" panose="020B0306030504020204" pitchFamily="34" charset="0"/>
                          <a:cs typeface="Arial" panose="020B0604020202020204" pitchFamily="34" charset="0"/>
                        </a:endParaRPr>
                      </a:p>
                    </a:txBody>
                    <a:tcPr marL="0" marR="108000" marT="72000" marB="7200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marL="0" indent="0" algn="l">
                          <a:buClr>
                            <a:schemeClr val="tx1"/>
                          </a:buClr>
                          <a:buSzPct val="70000"/>
                          <a:buFont typeface="Arial" pitchFamily="34" charset="0"/>
                          <a:buNone/>
                        </a:pPr>
                        <a:endParaRPr lang="en-US" sz="800">
                          <a:solidFill>
                            <a:schemeClr val="bg1"/>
                          </a:solidFill>
                          <a:latin typeface="Arial" panose="020B0604020202020204" pitchFamily="34" charset="0"/>
                          <a:ea typeface="Open Sans Light" panose="020B0306030504020204" pitchFamily="34" charset="0"/>
                          <a:cs typeface="Arial" panose="020B0604020202020204" pitchFamily="34" charset="0"/>
                        </a:endParaRPr>
                      </a:p>
                    </a:txBody>
                    <a:tcPr marL="0" marR="108000" marT="72000" marB="72000">
                      <a:lnL w="6350" cap="flat" cmpd="sng" algn="ctr">
                        <a:solidFill>
                          <a:srgbClr val="CCCCCC"/>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3410627376"/>
                    </a:ext>
                  </a:extLst>
                </a:tr>
                <a:tr h="0">
                  <a:tc vMerge="1">
                    <a:txBody>
                      <a:bodyPr/>
                      <a:lstStyle/>
                      <a:p>
                        <a:pPr marL="0" indent="0" algn="r">
                          <a:buClr>
                            <a:schemeClr val="tx1"/>
                          </a:buClr>
                          <a:buSzPct val="70000"/>
                          <a:buFont typeface="Arial" pitchFamily="34" charset="0"/>
                          <a:buNone/>
                        </a:pPr>
                        <a:endParaRPr lang="en-US" sz="1000">
                          <a:solidFill>
                            <a:srgbClr val="001A54"/>
                          </a:solidFill>
                          <a:latin typeface="Arial" panose="020B0604020202020204" pitchFamily="34" charset="0"/>
                          <a:ea typeface="Open Sans Light" panose="020B0306030504020204" pitchFamily="34" charset="0"/>
                          <a:cs typeface="Arial" panose="020B0604020202020204" pitchFamily="34" charset="0"/>
                        </a:endParaRPr>
                      </a:p>
                    </a:txBody>
                    <a:tcPr marL="0" marR="108000" marT="54000" marB="72000">
                      <a:lnL w="6350" cap="flat" cmpd="sng" algn="ctr">
                        <a:solidFill>
                          <a:srgbClr val="FFFFFF"/>
                        </a:solid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001A54"/>
                        </a:solidFill>
                        <a:prstDash val="solid"/>
                        <a:round/>
                        <a:headEnd type="none" w="med" len="med"/>
                        <a:tailEnd type="none" w="med" len="med"/>
                      </a:lnT>
                      <a:lnB w="6350" cap="flat" cmpd="sng" algn="ctr">
                        <a:solidFill>
                          <a:srgbClr val="001A54"/>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defTabSz="863995" rtl="0" eaLnBrk="1" fontAlgn="b" latinLnBrk="0" hangingPunct="1">
                          <a:lnSpc>
                            <a:spcPct val="100000"/>
                          </a:lnSpc>
                          <a:spcBef>
                            <a:spcPts val="0"/>
                          </a:spcBef>
                          <a:spcAft>
                            <a:spcPts val="0"/>
                          </a:spcAft>
                          <a:buClrTx/>
                          <a:buSzTx/>
                          <a:buFontTx/>
                          <a:buNone/>
                          <a:tabLst/>
                          <a:defRPr/>
                        </a:pPr>
                        <a:r>
                          <a:rPr lang="en" sz="800" b="0" i="0" u="none" strike="noStrike">
                            <a:effectLst/>
                            <a:latin typeface="Arial" panose="020B0604020202020204" pitchFamily="34" charset="0"/>
                          </a:rPr>
                          <a:t>NIS2 &amp; RCE / CRITICAL</a:t>
                        </a:r>
                      </a:p>
                    </a:txBody>
                    <a:tcPr marL="9525" marR="9525"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defTabSz="863995" rtl="0" eaLnBrk="1" fontAlgn="b" latinLnBrk="0" hangingPunct="1">
                          <a:lnSpc>
                            <a:spcPct val="100000"/>
                          </a:lnSpc>
                          <a:spcBef>
                            <a:spcPts val="0"/>
                          </a:spcBef>
                          <a:spcAft>
                            <a:spcPts val="0"/>
                          </a:spcAft>
                          <a:buClrTx/>
                          <a:buSzTx/>
                          <a:buFontTx/>
                          <a:buNone/>
                          <a:tabLst/>
                          <a:defRPr/>
                        </a:pPr>
                        <a:r>
                          <a:rPr lang="en" sz="800" b="0" i="0" u="none" strike="noStrike" noProof="0">
                            <a:effectLst/>
                            <a:latin typeface="Arial" panose="020B0604020202020204" pitchFamily="34" charset="0"/>
                          </a:rPr>
                          <a:t>directives for cyber resilience of critical entities / infrastructure</a:t>
                        </a:r>
                      </a:p>
                    </a:txBody>
                    <a:tcPr marL="9525" marR="9525"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l">
                          <a:buClr>
                            <a:schemeClr val="tx1"/>
                          </a:buClr>
                          <a:buSzPct val="70000"/>
                          <a:buFont typeface="Arial" pitchFamily="34" charset="0"/>
                          <a:buNone/>
                        </a:pPr>
                        <a:endParaRPr lang="en-US" sz="800">
                          <a:solidFill>
                            <a:srgbClr val="001A54"/>
                          </a:solidFill>
                          <a:latin typeface="Arial" panose="020B0604020202020204" pitchFamily="34" charset="0"/>
                          <a:ea typeface="Open Sans Light" panose="020B0306030504020204" pitchFamily="34" charset="0"/>
                          <a:cs typeface="Arial" panose="020B0604020202020204" pitchFamily="34" charset="0"/>
                        </a:endParaRPr>
                      </a:p>
                    </a:txBody>
                    <a:tcPr marL="0" marR="108000" marT="72000" marB="72000">
                      <a:lnL w="6350" cap="flat" cmpd="sng" algn="ctr">
                        <a:no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a:buClr>
                            <a:schemeClr val="tx1"/>
                          </a:buClr>
                          <a:buSzPct val="70000"/>
                          <a:buFont typeface="Arial" pitchFamily="34" charset="0"/>
                          <a:buNone/>
                        </a:pPr>
                        <a:endParaRPr lang="en-US" sz="800">
                          <a:solidFill>
                            <a:srgbClr val="001A54"/>
                          </a:solidFill>
                          <a:latin typeface="Arial" panose="020B0604020202020204" pitchFamily="34" charset="0"/>
                          <a:ea typeface="Open Sans Light" panose="020B0306030504020204" pitchFamily="34" charset="0"/>
                          <a:cs typeface="Arial" panose="020B0604020202020204" pitchFamily="34" charset="0"/>
                        </a:endParaRPr>
                      </a:p>
                    </a:txBody>
                    <a:tcPr marL="0" marR="108000" marT="72000" marB="7200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a:buClr>
                            <a:schemeClr val="tx1"/>
                          </a:buClr>
                          <a:buSzPct val="70000"/>
                          <a:buFont typeface="Arial" pitchFamily="34" charset="0"/>
                          <a:buNone/>
                        </a:pPr>
                        <a:endParaRPr lang="en-US" sz="800">
                          <a:solidFill>
                            <a:srgbClr val="001A54"/>
                          </a:solidFill>
                          <a:latin typeface="Arial" panose="020B0604020202020204" pitchFamily="34" charset="0"/>
                          <a:ea typeface="Open Sans Light" panose="020B0306030504020204" pitchFamily="34" charset="0"/>
                          <a:cs typeface="Arial" panose="020B0604020202020204" pitchFamily="34" charset="0"/>
                        </a:endParaRPr>
                      </a:p>
                    </a:txBody>
                    <a:tcPr marL="0" marR="108000" marT="72000" marB="7200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a:buClr>
                            <a:schemeClr val="tx1"/>
                          </a:buClr>
                          <a:buSzPct val="70000"/>
                          <a:buFont typeface="Arial" pitchFamily="34" charset="0"/>
                          <a:buNone/>
                        </a:pPr>
                        <a:endParaRPr lang="en-US" sz="800">
                          <a:solidFill>
                            <a:srgbClr val="001A54"/>
                          </a:solidFill>
                          <a:latin typeface="Arial" panose="020B0604020202020204" pitchFamily="34" charset="0"/>
                          <a:ea typeface="Open Sans Light" panose="020B0306030504020204" pitchFamily="34" charset="0"/>
                          <a:cs typeface="Arial" panose="020B0604020202020204" pitchFamily="34" charset="0"/>
                        </a:endParaRPr>
                      </a:p>
                    </a:txBody>
                    <a:tcPr marL="0" marR="108000" marT="72000" marB="7200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a:buClr>
                            <a:schemeClr val="tx1"/>
                          </a:buClr>
                          <a:buSzPct val="70000"/>
                          <a:buFont typeface="Arial" pitchFamily="34" charset="0"/>
                          <a:buNone/>
                        </a:pPr>
                        <a:endParaRPr lang="en-US" sz="800">
                          <a:solidFill>
                            <a:srgbClr val="001A54"/>
                          </a:solidFill>
                          <a:latin typeface="Arial" panose="020B0604020202020204" pitchFamily="34" charset="0"/>
                          <a:ea typeface="Open Sans Light" panose="020B0306030504020204" pitchFamily="34" charset="0"/>
                          <a:cs typeface="Arial" panose="020B0604020202020204" pitchFamily="34" charset="0"/>
                        </a:endParaRPr>
                      </a:p>
                    </a:txBody>
                    <a:tcPr marL="0" marR="108000" marT="72000" marB="7200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a:buClr>
                            <a:schemeClr val="tx1"/>
                          </a:buClr>
                          <a:buSzPct val="70000"/>
                          <a:buFont typeface="Arial" pitchFamily="34" charset="0"/>
                          <a:buNone/>
                        </a:pPr>
                        <a:endParaRPr lang="en-US" sz="800">
                          <a:solidFill>
                            <a:srgbClr val="001A54"/>
                          </a:solidFill>
                          <a:latin typeface="Arial" panose="020B0604020202020204" pitchFamily="34" charset="0"/>
                          <a:ea typeface="Open Sans Light" panose="020B0306030504020204" pitchFamily="34" charset="0"/>
                          <a:cs typeface="Arial" panose="020B0604020202020204" pitchFamily="34" charset="0"/>
                        </a:endParaRPr>
                      </a:p>
                    </a:txBody>
                    <a:tcPr marL="0" marR="108000" marT="72000" marB="7200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a:buClr>
                            <a:schemeClr val="tx1"/>
                          </a:buClr>
                          <a:buSzPct val="70000"/>
                          <a:buFont typeface="Arial" pitchFamily="34" charset="0"/>
                          <a:buNone/>
                        </a:pPr>
                        <a:endParaRPr lang="en-US" sz="800">
                          <a:solidFill>
                            <a:srgbClr val="001A54"/>
                          </a:solidFill>
                          <a:latin typeface="Arial" panose="020B0604020202020204" pitchFamily="34" charset="0"/>
                          <a:ea typeface="Open Sans Light" panose="020B0306030504020204" pitchFamily="34" charset="0"/>
                          <a:cs typeface="Arial" panose="020B0604020202020204" pitchFamily="34" charset="0"/>
                        </a:endParaRPr>
                      </a:p>
                    </a:txBody>
                    <a:tcPr marL="0" marR="108000" marT="72000" marB="7200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a:buClr>
                            <a:schemeClr val="tx1"/>
                          </a:buClr>
                          <a:buSzPct val="70000"/>
                          <a:buFont typeface="Arial" pitchFamily="34" charset="0"/>
                          <a:buNone/>
                        </a:pPr>
                        <a:endParaRPr lang="en-US" sz="800">
                          <a:solidFill>
                            <a:srgbClr val="001A54"/>
                          </a:solidFill>
                          <a:latin typeface="Arial" panose="020B0604020202020204" pitchFamily="34" charset="0"/>
                          <a:ea typeface="Open Sans Light" panose="020B0306030504020204" pitchFamily="34" charset="0"/>
                          <a:cs typeface="Arial" panose="020B0604020202020204" pitchFamily="34" charset="0"/>
                        </a:endParaRPr>
                      </a:p>
                    </a:txBody>
                    <a:tcPr marL="0" marR="108000" marT="72000" marB="72000">
                      <a:lnL w="6350" cap="flat" cmpd="sng" algn="ctr">
                        <a:solidFill>
                          <a:srgbClr val="CCCCCC"/>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23078313"/>
                    </a:ext>
                  </a:extLst>
                </a:tr>
                <a:tr h="0">
                  <a:tc>
                    <a:txBody>
                      <a:bodyPr/>
                      <a:lstStyle/>
                      <a:p>
                        <a:pPr algn="l" fontAlgn="b"/>
                        <a:r>
                          <a:rPr lang="en" sz="800" b="1" i="0" u="none" strike="noStrike">
                            <a:effectLst/>
                            <a:latin typeface="Arial" panose="020B0604020202020204" pitchFamily="34" charset="0"/>
                          </a:rPr>
                          <a:t>United Kingdom</a:t>
                        </a:r>
                      </a:p>
                    </a:txBody>
                    <a:tcPr marL="9525" marR="9525"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b"/>
                        <a:r>
                          <a:rPr lang="en" sz="800" b="0" i="0" u="none" strike="noStrike">
                            <a:effectLst/>
                            <a:latin typeface="Arial" panose="020B0604020202020204" pitchFamily="34" charset="0"/>
                          </a:rPr>
                          <a:t>Product Security and Telecommunications Infrastructure Act</a:t>
                        </a:r>
                      </a:p>
                    </a:txBody>
                    <a:tcPr marL="9525" marR="9525"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l">
                          <a:buClr>
                            <a:schemeClr val="tx1"/>
                          </a:buClr>
                          <a:buSzPct val="70000"/>
                          <a:buFont typeface="Arial" pitchFamily="34" charset="0"/>
                          <a:buNone/>
                        </a:pPr>
                        <a:r>
                          <a:rPr lang="en" sz="800">
                            <a:solidFill>
                              <a:srgbClr val="001A54"/>
                            </a:solidFill>
                            <a:latin typeface="Arial" panose="020B0604020202020204" pitchFamily="34" charset="0"/>
                            <a:ea typeface="Open Sans Light" panose="020B0306030504020204" pitchFamily="34" charset="0"/>
                            <a:cs typeface="Arial" panose="020B0604020202020204" pitchFamily="34" charset="0"/>
                          </a:rPr>
                          <a:t>Radio equipment</a:t>
                        </a:r>
                      </a:p>
                    </a:txBody>
                    <a:tcPr marL="0" marR="108000"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l">
                          <a:buClr>
                            <a:schemeClr val="tx1"/>
                          </a:buClr>
                          <a:buSzPct val="70000"/>
                          <a:buFont typeface="Arial" pitchFamily="34" charset="0"/>
                          <a:buNone/>
                        </a:pPr>
                        <a:endParaRPr lang="en-US" sz="800">
                          <a:solidFill>
                            <a:srgbClr val="001A54"/>
                          </a:solidFill>
                          <a:latin typeface="Arial" panose="020B0604020202020204" pitchFamily="34" charset="0"/>
                          <a:ea typeface="Open Sans Light" panose="020B0306030504020204" pitchFamily="34" charset="0"/>
                          <a:cs typeface="Arial" panose="020B0604020202020204" pitchFamily="34" charset="0"/>
                        </a:endParaRPr>
                      </a:p>
                    </a:txBody>
                    <a:tcPr marL="0" marR="108000" marT="72000" marB="72000">
                      <a:lnL w="6350" cap="flat" cmpd="sng" algn="ctr">
                        <a:no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a:buClr>
                            <a:schemeClr val="tx1"/>
                          </a:buClr>
                          <a:buSzPct val="70000"/>
                          <a:buFont typeface="Arial" pitchFamily="34" charset="0"/>
                          <a:buNone/>
                        </a:pPr>
                        <a:endParaRPr lang="en-US" sz="800">
                          <a:solidFill>
                            <a:srgbClr val="001A54"/>
                          </a:solidFill>
                          <a:latin typeface="Arial" panose="020B0604020202020204" pitchFamily="34" charset="0"/>
                          <a:ea typeface="Open Sans Light" panose="020B0306030504020204" pitchFamily="34" charset="0"/>
                          <a:cs typeface="Arial" panose="020B0604020202020204" pitchFamily="34" charset="0"/>
                        </a:endParaRPr>
                      </a:p>
                    </a:txBody>
                    <a:tcPr marL="0" marR="108000" marT="72000" marB="7200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a:buClr>
                            <a:schemeClr val="tx1"/>
                          </a:buClr>
                          <a:buSzPct val="70000"/>
                          <a:buFont typeface="Arial" pitchFamily="34" charset="0"/>
                          <a:buNone/>
                        </a:pPr>
                        <a:endParaRPr lang="en-US" sz="800">
                          <a:solidFill>
                            <a:srgbClr val="001A54"/>
                          </a:solidFill>
                          <a:latin typeface="Arial" panose="020B0604020202020204" pitchFamily="34" charset="0"/>
                          <a:ea typeface="Open Sans Light" panose="020B0306030504020204" pitchFamily="34" charset="0"/>
                          <a:cs typeface="Arial" panose="020B0604020202020204" pitchFamily="34" charset="0"/>
                        </a:endParaRPr>
                      </a:p>
                    </a:txBody>
                    <a:tcPr marL="0" marR="108000" marT="72000" marB="7200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a:buClr>
                            <a:schemeClr val="tx1"/>
                          </a:buClr>
                          <a:buSzPct val="70000"/>
                          <a:buFont typeface="Arial" pitchFamily="34" charset="0"/>
                          <a:buNone/>
                        </a:pPr>
                        <a:endParaRPr lang="en-US" sz="800">
                          <a:solidFill>
                            <a:srgbClr val="001A54"/>
                          </a:solidFill>
                          <a:latin typeface="Arial" panose="020B0604020202020204" pitchFamily="34" charset="0"/>
                          <a:ea typeface="Open Sans Light" panose="020B0306030504020204" pitchFamily="34" charset="0"/>
                          <a:cs typeface="Arial" panose="020B0604020202020204" pitchFamily="34" charset="0"/>
                        </a:endParaRPr>
                      </a:p>
                    </a:txBody>
                    <a:tcPr marL="0" marR="108000" marT="72000" marB="7200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a:buClr>
                            <a:schemeClr val="tx1"/>
                          </a:buClr>
                          <a:buSzPct val="70000"/>
                          <a:buFont typeface="Arial" pitchFamily="34" charset="0"/>
                          <a:buNone/>
                        </a:pPr>
                        <a:endParaRPr lang="en-US" sz="800">
                          <a:solidFill>
                            <a:srgbClr val="001A54"/>
                          </a:solidFill>
                          <a:latin typeface="Arial" panose="020B0604020202020204" pitchFamily="34" charset="0"/>
                          <a:ea typeface="Open Sans Light" panose="020B0306030504020204" pitchFamily="34" charset="0"/>
                          <a:cs typeface="Arial" panose="020B0604020202020204" pitchFamily="34" charset="0"/>
                        </a:endParaRPr>
                      </a:p>
                    </a:txBody>
                    <a:tcPr marL="0" marR="108000" marT="72000" marB="7200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a:buClr>
                            <a:schemeClr val="tx1"/>
                          </a:buClr>
                          <a:buSzPct val="70000"/>
                          <a:buFont typeface="Arial" pitchFamily="34" charset="0"/>
                          <a:buNone/>
                        </a:pPr>
                        <a:endParaRPr lang="en-US" sz="800">
                          <a:solidFill>
                            <a:srgbClr val="001A54"/>
                          </a:solidFill>
                          <a:latin typeface="Arial" panose="020B0604020202020204" pitchFamily="34" charset="0"/>
                          <a:ea typeface="Open Sans Light" panose="020B0306030504020204" pitchFamily="34" charset="0"/>
                          <a:cs typeface="Arial" panose="020B0604020202020204" pitchFamily="34" charset="0"/>
                        </a:endParaRPr>
                      </a:p>
                    </a:txBody>
                    <a:tcPr marL="0" marR="108000" marT="72000" marB="7200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a:buClr>
                            <a:schemeClr val="tx1"/>
                          </a:buClr>
                          <a:buSzPct val="70000"/>
                          <a:buFont typeface="Arial" pitchFamily="34" charset="0"/>
                          <a:buNone/>
                        </a:pPr>
                        <a:endParaRPr lang="en-US" sz="800">
                          <a:solidFill>
                            <a:srgbClr val="001A54"/>
                          </a:solidFill>
                          <a:latin typeface="Arial" panose="020B0604020202020204" pitchFamily="34" charset="0"/>
                          <a:ea typeface="Open Sans Light" panose="020B0306030504020204" pitchFamily="34" charset="0"/>
                          <a:cs typeface="Arial" panose="020B0604020202020204" pitchFamily="34" charset="0"/>
                        </a:endParaRPr>
                      </a:p>
                    </a:txBody>
                    <a:tcPr marL="0" marR="108000" marT="72000" marB="7200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a:buClr>
                            <a:schemeClr val="tx1"/>
                          </a:buClr>
                          <a:buSzPct val="70000"/>
                          <a:buFont typeface="Arial" pitchFamily="34" charset="0"/>
                          <a:buNone/>
                        </a:pPr>
                        <a:endParaRPr lang="en-US" sz="800">
                          <a:solidFill>
                            <a:srgbClr val="001A54"/>
                          </a:solidFill>
                          <a:latin typeface="Arial" panose="020B0604020202020204" pitchFamily="34" charset="0"/>
                          <a:ea typeface="Open Sans Light" panose="020B0306030504020204" pitchFamily="34" charset="0"/>
                          <a:cs typeface="Arial" panose="020B0604020202020204" pitchFamily="34" charset="0"/>
                        </a:endParaRPr>
                      </a:p>
                    </a:txBody>
                    <a:tcPr marL="0" marR="108000" marT="72000" marB="72000">
                      <a:lnL w="6350" cap="flat" cmpd="sng" algn="ctr">
                        <a:solidFill>
                          <a:srgbClr val="CCCCCC"/>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58615571"/>
                    </a:ext>
                  </a:extLst>
                </a:tr>
                <a:tr h="0">
                  <a:tc rowSpan="3">
                    <a:txBody>
                      <a:bodyPr/>
                      <a:lstStyle/>
                      <a:p>
                        <a:pPr algn="l" fontAlgn="b"/>
                        <a:r>
                          <a:rPr lang="en" sz="800" b="1" i="0" u="none" strike="noStrike">
                            <a:effectLst/>
                            <a:latin typeface="Arial" panose="020B0604020202020204" pitchFamily="34" charset="0"/>
                          </a:rPr>
                          <a:t>Japan</a:t>
                        </a:r>
                      </a:p>
                    </a:txBody>
                    <a:tcPr marL="0" marR="108000"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b"/>
                        <a:r>
                          <a:rPr lang="en" sz="800" b="0" i="0" u="none" strike="noStrike">
                            <a:effectLst/>
                            <a:latin typeface="Arial" panose="020B0604020202020204" pitchFamily="34" charset="0"/>
                          </a:rPr>
                          <a:t>Regulations on Terminal Equipment, etc.</a:t>
                        </a:r>
                      </a:p>
                    </a:txBody>
                    <a:tcPr marL="9525" marR="9525"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b"/>
                        <a:r>
                          <a:rPr lang="en" sz="800" b="0" i="0" u="none" strike="noStrike">
                            <a:effectLst/>
                            <a:latin typeface="Arial" panose="020B0604020202020204" pitchFamily="34" charset="0"/>
                          </a:rPr>
                          <a:t>Security of wireless/IoT devices</a:t>
                        </a:r>
                      </a:p>
                    </a:txBody>
                    <a:tcPr marL="9525" marR="9525"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l">
                          <a:buClr>
                            <a:schemeClr val="tx1"/>
                          </a:buClr>
                          <a:buSzPct val="70000"/>
                          <a:buFont typeface="Arial" pitchFamily="34" charset="0"/>
                          <a:buNone/>
                        </a:pPr>
                        <a:endParaRPr lang="en-US" sz="800">
                          <a:solidFill>
                            <a:srgbClr val="001A54"/>
                          </a:solidFill>
                          <a:latin typeface="Arial" panose="020B0604020202020204" pitchFamily="34" charset="0"/>
                          <a:ea typeface="Open Sans Light" panose="020B0306030504020204" pitchFamily="34" charset="0"/>
                          <a:cs typeface="Arial" panose="020B0604020202020204" pitchFamily="34" charset="0"/>
                        </a:endParaRPr>
                      </a:p>
                    </a:txBody>
                    <a:tcPr marL="0" marR="108000" marT="72000" marB="72000">
                      <a:lnL w="6350" cap="flat" cmpd="sng" algn="ctr">
                        <a:no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a:buClr>
                            <a:schemeClr val="tx1"/>
                          </a:buClr>
                          <a:buSzPct val="70000"/>
                          <a:buFont typeface="Arial" pitchFamily="34" charset="0"/>
                          <a:buNone/>
                        </a:pPr>
                        <a:endParaRPr lang="en-US" sz="800">
                          <a:solidFill>
                            <a:srgbClr val="001A54"/>
                          </a:solidFill>
                          <a:latin typeface="Arial" panose="020B0604020202020204" pitchFamily="34" charset="0"/>
                          <a:ea typeface="Open Sans Light" panose="020B0306030504020204" pitchFamily="34" charset="0"/>
                          <a:cs typeface="Arial" panose="020B0604020202020204" pitchFamily="34" charset="0"/>
                        </a:endParaRPr>
                      </a:p>
                    </a:txBody>
                    <a:tcPr marL="0" marR="108000" marT="72000" marB="7200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a:buClr>
                            <a:schemeClr val="tx1"/>
                          </a:buClr>
                          <a:buSzPct val="70000"/>
                          <a:buFont typeface="Arial" pitchFamily="34" charset="0"/>
                          <a:buNone/>
                        </a:pPr>
                        <a:endParaRPr lang="en-US" sz="800">
                          <a:solidFill>
                            <a:srgbClr val="001A54"/>
                          </a:solidFill>
                          <a:latin typeface="Arial" panose="020B0604020202020204" pitchFamily="34" charset="0"/>
                          <a:ea typeface="Open Sans Light" panose="020B0306030504020204" pitchFamily="34" charset="0"/>
                          <a:cs typeface="Arial" panose="020B0604020202020204" pitchFamily="34" charset="0"/>
                        </a:endParaRPr>
                      </a:p>
                    </a:txBody>
                    <a:tcPr marL="0" marR="108000" marT="72000" marB="7200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a:buClr>
                            <a:schemeClr val="tx1"/>
                          </a:buClr>
                          <a:buSzPct val="70000"/>
                          <a:buFont typeface="Arial" pitchFamily="34" charset="0"/>
                          <a:buNone/>
                        </a:pPr>
                        <a:endParaRPr lang="en-US" sz="800">
                          <a:solidFill>
                            <a:srgbClr val="001A54"/>
                          </a:solidFill>
                          <a:latin typeface="Arial" panose="020B0604020202020204" pitchFamily="34" charset="0"/>
                          <a:ea typeface="Open Sans Light" panose="020B0306030504020204" pitchFamily="34" charset="0"/>
                          <a:cs typeface="Arial" panose="020B0604020202020204" pitchFamily="34" charset="0"/>
                        </a:endParaRPr>
                      </a:p>
                    </a:txBody>
                    <a:tcPr marL="0" marR="108000" marT="72000" marB="7200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a:buClr>
                            <a:schemeClr val="tx1"/>
                          </a:buClr>
                          <a:buSzPct val="70000"/>
                          <a:buFont typeface="Arial" pitchFamily="34" charset="0"/>
                          <a:buNone/>
                        </a:pPr>
                        <a:endParaRPr lang="en-US" sz="800">
                          <a:solidFill>
                            <a:srgbClr val="001A54"/>
                          </a:solidFill>
                          <a:latin typeface="Arial" panose="020B0604020202020204" pitchFamily="34" charset="0"/>
                          <a:ea typeface="Open Sans Light" panose="020B0306030504020204" pitchFamily="34" charset="0"/>
                          <a:cs typeface="Arial" panose="020B0604020202020204" pitchFamily="34" charset="0"/>
                        </a:endParaRPr>
                      </a:p>
                    </a:txBody>
                    <a:tcPr marL="0" marR="108000" marT="72000" marB="7200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a:buClr>
                            <a:schemeClr val="tx1"/>
                          </a:buClr>
                          <a:buSzPct val="70000"/>
                          <a:buFont typeface="Arial" pitchFamily="34" charset="0"/>
                          <a:buNone/>
                        </a:pPr>
                        <a:endParaRPr lang="en-US" sz="800">
                          <a:solidFill>
                            <a:srgbClr val="001A54"/>
                          </a:solidFill>
                          <a:latin typeface="Arial" panose="020B0604020202020204" pitchFamily="34" charset="0"/>
                          <a:ea typeface="Open Sans Light" panose="020B0306030504020204" pitchFamily="34" charset="0"/>
                          <a:cs typeface="Arial" panose="020B0604020202020204" pitchFamily="34" charset="0"/>
                        </a:endParaRPr>
                      </a:p>
                    </a:txBody>
                    <a:tcPr marL="0" marR="108000" marT="72000" marB="7200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a:buClr>
                            <a:schemeClr val="tx1"/>
                          </a:buClr>
                          <a:buSzPct val="70000"/>
                          <a:buFont typeface="Arial" pitchFamily="34" charset="0"/>
                          <a:buNone/>
                        </a:pPr>
                        <a:endParaRPr lang="en-US" sz="800">
                          <a:solidFill>
                            <a:srgbClr val="001A54"/>
                          </a:solidFill>
                          <a:latin typeface="Arial" panose="020B0604020202020204" pitchFamily="34" charset="0"/>
                          <a:ea typeface="Open Sans Light" panose="020B0306030504020204" pitchFamily="34" charset="0"/>
                          <a:cs typeface="Arial" panose="020B0604020202020204" pitchFamily="34" charset="0"/>
                        </a:endParaRPr>
                      </a:p>
                    </a:txBody>
                    <a:tcPr marL="0" marR="108000" marT="72000" marB="7200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a:buClr>
                            <a:schemeClr val="tx1"/>
                          </a:buClr>
                          <a:buSzPct val="70000"/>
                          <a:buFont typeface="Arial" pitchFamily="34" charset="0"/>
                          <a:buNone/>
                        </a:pPr>
                        <a:endParaRPr lang="en-US" sz="800">
                          <a:solidFill>
                            <a:srgbClr val="001A54"/>
                          </a:solidFill>
                          <a:latin typeface="Arial" panose="020B0604020202020204" pitchFamily="34" charset="0"/>
                          <a:ea typeface="Open Sans Light" panose="020B0306030504020204" pitchFamily="34" charset="0"/>
                          <a:cs typeface="Arial" panose="020B0604020202020204" pitchFamily="34" charset="0"/>
                        </a:endParaRPr>
                      </a:p>
                    </a:txBody>
                    <a:tcPr marL="0" marR="108000" marT="72000" marB="72000">
                      <a:lnL w="6350" cap="flat" cmpd="sng" algn="ctr">
                        <a:solidFill>
                          <a:srgbClr val="CCCCCC"/>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20101826"/>
                    </a:ext>
                  </a:extLst>
                </a:tr>
                <a:tr h="0">
                  <a:tc vMerge="1">
                    <a:txBody>
                      <a:bodyPr/>
                      <a:lstStyle/>
                      <a:p>
                        <a:endParaRPr/>
                      </a:p>
                    </a:txBody>
                    <a:tcPr marL="9525" marR="9525" marT="9525" anchor="b">
                      <a:lnL w="6350" cap="flat" cmpd="sng" algn="ctr">
                        <a:solidFill>
                          <a:srgbClr val="FFFFFF"/>
                        </a:solid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001A54"/>
                        </a:solidFill>
                        <a:prstDash val="solid"/>
                        <a:round/>
                        <a:headEnd type="none" w="med" len="med"/>
                        <a:tailEnd type="none" w="med" len="med"/>
                      </a:lnT>
                      <a:lnB w="6350" cap="flat" cmpd="sng" algn="ctr">
                        <a:solidFill>
                          <a:srgbClr val="001A54"/>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b"/>
                        <a:r>
                          <a:rPr lang="en" sz="800" b="0" i="0" u="none" strike="noStrike">
                            <a:effectLst/>
                            <a:latin typeface="Arial" panose="020B0604020202020204" pitchFamily="34" charset="0"/>
                          </a:rPr>
                          <a:t>UNECE R155</a:t>
                        </a:r>
                      </a:p>
                    </a:txBody>
                    <a:tcPr marL="9525" marR="9525"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b"/>
                        <a:r>
                          <a:rPr lang="en" sz="800" b="0" i="0" u="none" strike="noStrike">
                            <a:effectLst/>
                            <a:latin typeface="Arial" panose="020B0604020202020204" pitchFamily="34" charset="0"/>
                          </a:rPr>
                          <a:t>Approval for M&amp;N vehicle types and OEMs with OTA-Update</a:t>
                        </a:r>
                      </a:p>
                    </a:txBody>
                    <a:tcPr marL="9525" marR="9525"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b"/>
                        <a:endParaRPr lang="en-US" sz="800" b="0" i="0" u="none" strike="noStrike">
                          <a:effectLst/>
                          <a:latin typeface="Arial" panose="020B0604020202020204" pitchFamily="34" charset="0"/>
                        </a:endParaRPr>
                      </a:p>
                    </a:txBody>
                    <a:tcPr marL="9525" marR="9525" marT="72000" marB="72000">
                      <a:lnL w="6350" cap="flat" cmpd="sng" algn="ctr">
                        <a:no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US" sz="800" b="0" i="0" u="none" strike="noStrike">
                          <a:effectLst/>
                          <a:latin typeface="Arial" panose="020B0604020202020204" pitchFamily="34" charset="0"/>
                        </a:endParaRPr>
                      </a:p>
                    </a:txBody>
                    <a:tcPr marL="9525" marR="9525" marT="72000" marB="7200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US" sz="800" b="0" i="0" u="none" strike="noStrike">
                          <a:effectLst/>
                          <a:latin typeface="Arial" panose="020B0604020202020204" pitchFamily="34" charset="0"/>
                        </a:endParaRPr>
                      </a:p>
                    </a:txBody>
                    <a:tcPr marL="9525" marR="9525" marT="72000" marB="7200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US" sz="800" b="0" i="0" u="none" strike="noStrike">
                          <a:effectLst/>
                          <a:latin typeface="Arial" panose="020B0604020202020204" pitchFamily="34" charset="0"/>
                        </a:endParaRPr>
                      </a:p>
                    </a:txBody>
                    <a:tcPr marL="9525" marR="9525" marT="72000" marB="7200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US" sz="800" b="0" i="0" u="none" strike="noStrike">
                          <a:effectLst/>
                          <a:latin typeface="Arial" panose="020B0604020202020204" pitchFamily="34" charset="0"/>
                        </a:endParaRPr>
                      </a:p>
                    </a:txBody>
                    <a:tcPr marL="9525" marR="9525" marT="72000" marB="7200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US" sz="800" b="0" i="0" u="none" strike="noStrike">
                          <a:effectLst/>
                          <a:latin typeface="Arial" panose="020B0604020202020204" pitchFamily="34" charset="0"/>
                        </a:endParaRPr>
                      </a:p>
                    </a:txBody>
                    <a:tcPr marL="9525" marR="9525" marT="72000" marB="7200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a:buClr>
                            <a:schemeClr val="tx1"/>
                          </a:buClr>
                          <a:buSzPct val="70000"/>
                          <a:buFont typeface="Arial" pitchFamily="34" charset="0"/>
                          <a:buNone/>
                        </a:pPr>
                        <a:endParaRPr lang="en-US" sz="800">
                          <a:solidFill>
                            <a:srgbClr val="001A54"/>
                          </a:solidFill>
                          <a:latin typeface="Arial" panose="020B0604020202020204" pitchFamily="34" charset="0"/>
                          <a:ea typeface="Open Sans Light" panose="020B0306030504020204" pitchFamily="34" charset="0"/>
                          <a:cs typeface="Arial" panose="020B0604020202020204" pitchFamily="34" charset="0"/>
                        </a:endParaRPr>
                      </a:p>
                    </a:txBody>
                    <a:tcPr marL="0" marR="108000" marT="72000" marB="7200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a:buClr>
                            <a:schemeClr val="tx1"/>
                          </a:buClr>
                          <a:buSzPct val="70000"/>
                          <a:buFont typeface="Arial" pitchFamily="34" charset="0"/>
                          <a:buNone/>
                        </a:pPr>
                        <a:endParaRPr lang="en-US" sz="800">
                          <a:solidFill>
                            <a:srgbClr val="001A54"/>
                          </a:solidFill>
                          <a:latin typeface="Arial" panose="020B0604020202020204" pitchFamily="34" charset="0"/>
                          <a:ea typeface="Open Sans Light" panose="020B0306030504020204" pitchFamily="34" charset="0"/>
                          <a:cs typeface="Arial" panose="020B0604020202020204" pitchFamily="34" charset="0"/>
                        </a:endParaRPr>
                      </a:p>
                    </a:txBody>
                    <a:tcPr marL="0" marR="108000" marT="72000" marB="72000">
                      <a:lnL w="6350" cap="flat" cmpd="sng" algn="ctr">
                        <a:solidFill>
                          <a:srgbClr val="CCCCCC"/>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04531005"/>
                    </a:ext>
                  </a:extLst>
                </a:tr>
                <a:tr h="0">
                  <a:tc vMerge="1">
                    <a:txBody>
                      <a:bodyPr/>
                      <a:lstStyle/>
                      <a:p>
                        <a:pPr algn="l" fontAlgn="b"/>
                        <a:endParaRPr lang="en-US" sz="800" b="1" i="0" u="none" strike="noStrike">
                          <a:effectLst/>
                          <a:latin typeface="Arial" panose="020B0604020202020204" pitchFamily="34" charset="0"/>
                        </a:endParaRPr>
                      </a:p>
                    </a:txBody>
                    <a:tcPr marL="9525" marR="9525" marT="9525" anchor="b">
                      <a:lnL w="6350" cap="flat" cmpd="sng" algn="ctr">
                        <a:solidFill>
                          <a:srgbClr val="FFFFFF"/>
                        </a:solid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001A54"/>
                        </a:solidFill>
                        <a:prstDash val="solid"/>
                        <a:round/>
                        <a:headEnd type="none" w="med" len="med"/>
                        <a:tailEnd type="none" w="med" len="med"/>
                      </a:lnT>
                      <a:lnB w="6350" cap="flat" cmpd="sng" algn="ctr">
                        <a:solidFill>
                          <a:srgbClr val="001A54"/>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b"/>
                        <a:endParaRPr lang="en-US" sz="800" b="0" i="0" u="none" strike="noStrike">
                          <a:effectLst/>
                          <a:latin typeface="Arial" panose="020B0604020202020204" pitchFamily="34" charset="0"/>
                        </a:endParaRPr>
                      </a:p>
                    </a:txBody>
                    <a:tcPr marL="9525" marR="9525"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b"/>
                        <a:r>
                          <a:rPr lang="en" sz="800" b="0" i="0" u="none" strike="noStrike">
                            <a:effectLst/>
                            <a:latin typeface="Arial" panose="020B0604020202020204" pitchFamily="34" charset="0"/>
                          </a:rPr>
                          <a:t>Approval for M&amp;N vehicle types and OEMs without OTA-Update</a:t>
                        </a:r>
                      </a:p>
                    </a:txBody>
                    <a:tcPr marL="9525" marR="9525"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b"/>
                        <a:endParaRPr lang="en-US" sz="800" b="0" i="0" u="none" strike="noStrike">
                          <a:effectLst/>
                          <a:latin typeface="Arial" panose="020B0604020202020204" pitchFamily="34" charset="0"/>
                        </a:endParaRPr>
                      </a:p>
                    </a:txBody>
                    <a:tcPr marL="9525" marR="9525" marT="72000" marB="72000">
                      <a:lnL w="6350" cap="flat" cmpd="sng" algn="ctr">
                        <a:no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US" sz="800" b="0" i="0" u="none" strike="noStrike">
                          <a:effectLst/>
                          <a:latin typeface="Arial" panose="020B0604020202020204" pitchFamily="34" charset="0"/>
                        </a:endParaRPr>
                      </a:p>
                    </a:txBody>
                    <a:tcPr marL="9525" marR="9525" marT="72000" marB="7200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US" sz="800" b="0" i="0" u="none" strike="noStrike">
                          <a:effectLst/>
                          <a:latin typeface="Arial" panose="020B0604020202020204" pitchFamily="34" charset="0"/>
                        </a:endParaRPr>
                      </a:p>
                    </a:txBody>
                    <a:tcPr marL="9525" marR="9525" marT="72000" marB="7200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US" sz="800" b="0" i="0" u="none" strike="noStrike">
                          <a:effectLst/>
                          <a:latin typeface="Arial" panose="020B0604020202020204" pitchFamily="34" charset="0"/>
                        </a:endParaRPr>
                      </a:p>
                    </a:txBody>
                    <a:tcPr marL="9525" marR="9525" marT="72000" marB="7200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US" sz="800" b="0" i="0" u="none" strike="noStrike">
                          <a:effectLst/>
                          <a:latin typeface="Arial" panose="020B0604020202020204" pitchFamily="34" charset="0"/>
                        </a:endParaRPr>
                      </a:p>
                    </a:txBody>
                    <a:tcPr marL="9525" marR="9525" marT="72000" marB="7200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US" sz="800" b="0" i="0" u="none" strike="noStrike">
                          <a:effectLst/>
                          <a:latin typeface="Arial" panose="020B0604020202020204" pitchFamily="34" charset="0"/>
                        </a:endParaRPr>
                      </a:p>
                    </a:txBody>
                    <a:tcPr marL="9525" marR="9525" marT="72000" marB="7200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a:buClr>
                            <a:schemeClr val="tx1"/>
                          </a:buClr>
                          <a:buSzPct val="70000"/>
                          <a:buFont typeface="Arial" pitchFamily="34" charset="0"/>
                          <a:buNone/>
                        </a:pPr>
                        <a:endParaRPr lang="en-US" sz="800">
                          <a:solidFill>
                            <a:srgbClr val="001A54"/>
                          </a:solidFill>
                          <a:latin typeface="Arial" panose="020B0604020202020204" pitchFamily="34" charset="0"/>
                          <a:ea typeface="Open Sans Light" panose="020B0306030504020204" pitchFamily="34" charset="0"/>
                          <a:cs typeface="Arial" panose="020B0604020202020204" pitchFamily="34" charset="0"/>
                        </a:endParaRPr>
                      </a:p>
                    </a:txBody>
                    <a:tcPr marL="0" marR="108000" marT="72000" marB="7200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a:buClr>
                            <a:schemeClr val="tx1"/>
                          </a:buClr>
                          <a:buSzPct val="70000"/>
                          <a:buFont typeface="Arial" pitchFamily="34" charset="0"/>
                          <a:buNone/>
                        </a:pPr>
                        <a:endParaRPr lang="en-US" sz="800">
                          <a:solidFill>
                            <a:srgbClr val="001A54"/>
                          </a:solidFill>
                          <a:latin typeface="Arial" panose="020B0604020202020204" pitchFamily="34" charset="0"/>
                          <a:ea typeface="Open Sans Light" panose="020B0306030504020204" pitchFamily="34" charset="0"/>
                          <a:cs typeface="Arial" panose="020B0604020202020204" pitchFamily="34" charset="0"/>
                        </a:endParaRPr>
                      </a:p>
                    </a:txBody>
                    <a:tcPr marL="0" marR="108000" marT="72000" marB="72000">
                      <a:lnL w="6350" cap="flat" cmpd="sng" algn="ctr">
                        <a:solidFill>
                          <a:srgbClr val="CCCCCC"/>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99852067"/>
                    </a:ext>
                  </a:extLst>
                </a:tr>
                <a:tr h="0">
                  <a:tc>
                    <a:txBody>
                      <a:bodyPr/>
                      <a:lstStyle/>
                      <a:p>
                        <a:pPr algn="l" fontAlgn="b"/>
                        <a:r>
                          <a:rPr lang="en" sz="800" b="1" i="0" u="none" strike="noStrike">
                            <a:effectLst/>
                            <a:latin typeface="Arial" panose="020B0604020202020204" pitchFamily="34" charset="0"/>
                          </a:rPr>
                          <a:t>United States</a:t>
                        </a:r>
                      </a:p>
                    </a:txBody>
                    <a:tcPr marL="9525" marR="9525"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b"/>
                        <a:r>
                          <a:rPr lang="en" sz="800" b="0" i="0" u="none" strike="noStrike">
                            <a:effectLst/>
                            <a:latin typeface="Arial" panose="020B0604020202020204" pitchFamily="34" charset="0"/>
                          </a:rPr>
                          <a:t>U.S. Cyber Trust Mark</a:t>
                        </a:r>
                      </a:p>
                    </a:txBody>
                    <a:tcPr marL="9525" marR="9525"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l">
                          <a:buClr>
                            <a:schemeClr val="tx1"/>
                          </a:buClr>
                          <a:buSzPct val="70000"/>
                          <a:buFont typeface="Arial" pitchFamily="34" charset="0"/>
                          <a:buNone/>
                        </a:pPr>
                        <a:r>
                          <a:rPr lang="en" sz="800">
                            <a:solidFill>
                              <a:srgbClr val="001A54"/>
                            </a:solidFill>
                            <a:latin typeface="Arial" panose="020B0604020202020204" pitchFamily="34" charset="0"/>
                            <a:ea typeface="Open Sans Light" panose="020B0306030504020204" pitchFamily="34" charset="0"/>
                            <a:cs typeface="Arial" panose="020B0604020202020204" pitchFamily="34" charset="0"/>
                          </a:rPr>
                          <a:t>Security certification system for wireless devices/IoT products</a:t>
                        </a:r>
                      </a:p>
                    </a:txBody>
                    <a:tcPr marL="0" marR="108000"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l">
                          <a:buClr>
                            <a:schemeClr val="tx1"/>
                          </a:buClr>
                          <a:buSzPct val="70000"/>
                          <a:buFont typeface="Arial" pitchFamily="34" charset="0"/>
                          <a:buNone/>
                        </a:pPr>
                        <a:endParaRPr lang="en-US" sz="800">
                          <a:solidFill>
                            <a:srgbClr val="001A54"/>
                          </a:solidFill>
                          <a:latin typeface="Arial" panose="020B0604020202020204" pitchFamily="34" charset="0"/>
                          <a:ea typeface="Open Sans Light" panose="020B0306030504020204" pitchFamily="34" charset="0"/>
                          <a:cs typeface="Arial" panose="020B0604020202020204" pitchFamily="34" charset="0"/>
                        </a:endParaRPr>
                      </a:p>
                    </a:txBody>
                    <a:tcPr marL="0" marR="108000" marT="72000" marB="72000">
                      <a:lnL w="6350" cap="flat" cmpd="sng" algn="ctr">
                        <a:no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a:buClr>
                            <a:schemeClr val="tx1"/>
                          </a:buClr>
                          <a:buSzPct val="70000"/>
                          <a:buFont typeface="Arial" pitchFamily="34" charset="0"/>
                          <a:buNone/>
                        </a:pPr>
                        <a:endParaRPr lang="en-US" sz="800">
                          <a:solidFill>
                            <a:srgbClr val="001A54"/>
                          </a:solidFill>
                          <a:latin typeface="Arial" panose="020B0604020202020204" pitchFamily="34" charset="0"/>
                          <a:ea typeface="Open Sans Light" panose="020B0306030504020204" pitchFamily="34" charset="0"/>
                          <a:cs typeface="Arial" panose="020B0604020202020204" pitchFamily="34" charset="0"/>
                        </a:endParaRPr>
                      </a:p>
                    </a:txBody>
                    <a:tcPr marL="0" marR="108000" marT="72000" marB="7200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a:buClr>
                            <a:schemeClr val="tx1"/>
                          </a:buClr>
                          <a:buSzPct val="70000"/>
                          <a:buFont typeface="Arial" pitchFamily="34" charset="0"/>
                          <a:buNone/>
                        </a:pPr>
                        <a:endParaRPr lang="en-US" sz="800">
                          <a:solidFill>
                            <a:srgbClr val="001A54"/>
                          </a:solidFill>
                          <a:latin typeface="Arial" panose="020B0604020202020204" pitchFamily="34" charset="0"/>
                          <a:ea typeface="Open Sans Light" panose="020B0306030504020204" pitchFamily="34" charset="0"/>
                          <a:cs typeface="Arial" panose="020B0604020202020204" pitchFamily="34" charset="0"/>
                        </a:endParaRPr>
                      </a:p>
                    </a:txBody>
                    <a:tcPr marL="0" marR="108000" marT="72000" marB="7200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a:buClr>
                            <a:schemeClr val="tx1"/>
                          </a:buClr>
                          <a:buSzPct val="70000"/>
                          <a:buFont typeface="Arial" pitchFamily="34" charset="0"/>
                          <a:buNone/>
                        </a:pPr>
                        <a:endParaRPr lang="en-US" sz="800">
                          <a:solidFill>
                            <a:srgbClr val="001A54"/>
                          </a:solidFill>
                          <a:latin typeface="Arial" panose="020B0604020202020204" pitchFamily="34" charset="0"/>
                          <a:ea typeface="Open Sans Light" panose="020B0306030504020204" pitchFamily="34" charset="0"/>
                          <a:cs typeface="Arial" panose="020B0604020202020204" pitchFamily="34" charset="0"/>
                        </a:endParaRPr>
                      </a:p>
                    </a:txBody>
                    <a:tcPr marL="0" marR="108000" marT="72000" marB="7200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a:buClr>
                            <a:schemeClr val="tx1"/>
                          </a:buClr>
                          <a:buSzPct val="70000"/>
                          <a:buFont typeface="Arial" pitchFamily="34" charset="0"/>
                          <a:buNone/>
                        </a:pPr>
                        <a:endParaRPr lang="en-US" sz="800">
                          <a:solidFill>
                            <a:srgbClr val="001A54"/>
                          </a:solidFill>
                          <a:latin typeface="Arial" panose="020B0604020202020204" pitchFamily="34" charset="0"/>
                          <a:ea typeface="Open Sans Light" panose="020B0306030504020204" pitchFamily="34" charset="0"/>
                          <a:cs typeface="Arial" panose="020B0604020202020204" pitchFamily="34" charset="0"/>
                        </a:endParaRPr>
                      </a:p>
                    </a:txBody>
                    <a:tcPr marL="0" marR="108000" marT="72000" marB="7200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a:buClr>
                            <a:schemeClr val="tx1"/>
                          </a:buClr>
                          <a:buSzPct val="70000"/>
                          <a:buFont typeface="Arial" pitchFamily="34" charset="0"/>
                          <a:buNone/>
                        </a:pPr>
                        <a:endParaRPr lang="en-US" sz="800">
                          <a:solidFill>
                            <a:srgbClr val="001A54"/>
                          </a:solidFill>
                          <a:latin typeface="Arial" panose="020B0604020202020204" pitchFamily="34" charset="0"/>
                          <a:ea typeface="Open Sans Light" panose="020B0306030504020204" pitchFamily="34" charset="0"/>
                          <a:cs typeface="Arial" panose="020B0604020202020204" pitchFamily="34" charset="0"/>
                        </a:endParaRPr>
                      </a:p>
                    </a:txBody>
                    <a:tcPr marL="0" marR="108000" marT="72000" marB="7200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a:buClr>
                            <a:schemeClr val="tx1"/>
                          </a:buClr>
                          <a:buSzPct val="70000"/>
                          <a:buFont typeface="Arial" pitchFamily="34" charset="0"/>
                          <a:buNone/>
                        </a:pPr>
                        <a:endParaRPr lang="en-US" sz="800">
                          <a:solidFill>
                            <a:srgbClr val="001A54"/>
                          </a:solidFill>
                          <a:latin typeface="Arial" panose="020B0604020202020204" pitchFamily="34" charset="0"/>
                          <a:ea typeface="Open Sans Light" panose="020B0306030504020204" pitchFamily="34" charset="0"/>
                          <a:cs typeface="Arial" panose="020B0604020202020204" pitchFamily="34" charset="0"/>
                        </a:endParaRPr>
                      </a:p>
                    </a:txBody>
                    <a:tcPr marL="0" marR="108000" marT="72000" marB="7200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a:buClr>
                            <a:schemeClr val="tx1"/>
                          </a:buClr>
                          <a:buSzPct val="70000"/>
                          <a:buFont typeface="Arial" pitchFamily="34" charset="0"/>
                          <a:buNone/>
                        </a:pPr>
                        <a:endParaRPr lang="en-US" sz="800">
                          <a:solidFill>
                            <a:srgbClr val="001A54"/>
                          </a:solidFill>
                          <a:latin typeface="Arial" panose="020B0604020202020204" pitchFamily="34" charset="0"/>
                          <a:ea typeface="Open Sans Light" panose="020B0306030504020204" pitchFamily="34" charset="0"/>
                          <a:cs typeface="Arial" panose="020B0604020202020204" pitchFamily="34" charset="0"/>
                        </a:endParaRPr>
                      </a:p>
                    </a:txBody>
                    <a:tcPr marL="0" marR="108000" marT="72000" marB="72000">
                      <a:lnL w="6350" cap="flat" cmpd="sng" algn="ctr">
                        <a:solidFill>
                          <a:srgbClr val="CCCCCC"/>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9696711"/>
                    </a:ext>
                  </a:extLst>
                </a:tr>
                <a:tr h="360000">
                  <a:tc>
                    <a:txBody>
                      <a:bodyPr/>
                      <a:lstStyle/>
                      <a:p>
                        <a:pPr algn="l" fontAlgn="b"/>
                        <a:r>
                          <a:rPr lang="en" sz="800" b="1" i="0" u="none" strike="noStrike">
                            <a:effectLst/>
                            <a:latin typeface="Arial" panose="020B0604020202020204" pitchFamily="34" charset="0"/>
                          </a:rPr>
                          <a:t>China</a:t>
                        </a:r>
                      </a:p>
                    </a:txBody>
                    <a:tcPr marL="9525" marR="9525"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b"/>
                        <a:r>
                          <a:rPr lang="en" sz="800" b="0" i="0" u="none" strike="noStrike" dirty="0">
                            <a:solidFill>
                              <a:schemeClr val="bg1"/>
                            </a:solidFill>
                            <a:effectLst/>
                            <a:latin typeface="Arial" panose="020B0604020202020204" pitchFamily="34" charset="0"/>
                          </a:rPr>
                          <a:t>GB 44495-2024</a:t>
                        </a:r>
                      </a:p>
                    </a:txBody>
                    <a:tcPr marL="9525" marR="9525"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l" fontAlgn="b"/>
                        <a:r>
                          <a:rPr lang="en" sz="800" b="0" i="0" u="none" strike="noStrike" dirty="0">
                            <a:solidFill>
                              <a:schemeClr val="bg1"/>
                            </a:solidFill>
                            <a:effectLst/>
                            <a:latin typeface="Arial" panose="020B0604020202020204" pitchFamily="34" charset="0"/>
                          </a:rPr>
                          <a:t>Technical requirements for vehicle cybersecurity</a:t>
                        </a:r>
                      </a:p>
                    </a:txBody>
                    <a:tcPr marL="9525" marR="9525" marT="72000" marB="72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l" fontAlgn="b"/>
                        <a:endParaRPr lang="en-US" sz="800" b="0" i="0" u="none" strike="noStrike" dirty="0">
                          <a:solidFill>
                            <a:schemeClr val="bg1"/>
                          </a:solidFill>
                          <a:effectLst/>
                          <a:latin typeface="Arial" panose="020B0604020202020204" pitchFamily="34" charset="0"/>
                        </a:endParaRPr>
                      </a:p>
                    </a:txBody>
                    <a:tcPr marL="9525" marR="9525" marT="72000" marB="72000">
                      <a:lnL w="6350" cap="flat" cmpd="sng" algn="ctr">
                        <a:no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l" fontAlgn="b"/>
                        <a:endParaRPr lang="en-US" sz="800" b="0" i="0" u="none" strike="noStrike" dirty="0">
                          <a:solidFill>
                            <a:schemeClr val="bg1"/>
                          </a:solidFill>
                          <a:effectLst/>
                          <a:latin typeface="Arial" panose="020B0604020202020204" pitchFamily="34" charset="0"/>
                        </a:endParaRPr>
                      </a:p>
                    </a:txBody>
                    <a:tcPr marL="9525" marR="9525" marT="72000" marB="7200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l" fontAlgn="b"/>
                        <a:endParaRPr lang="en-US" sz="800" b="0" i="0" u="none" strike="noStrike" dirty="0">
                          <a:solidFill>
                            <a:schemeClr val="bg1"/>
                          </a:solidFill>
                          <a:effectLst/>
                          <a:latin typeface="Arial" panose="020B0604020202020204" pitchFamily="34" charset="0"/>
                        </a:endParaRPr>
                      </a:p>
                    </a:txBody>
                    <a:tcPr marL="9525" marR="9525" marT="72000" marB="7200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l" fontAlgn="b"/>
                        <a:endParaRPr lang="en-US" sz="800" b="0" i="0" u="none" strike="noStrike" dirty="0">
                          <a:solidFill>
                            <a:schemeClr val="bg1"/>
                          </a:solidFill>
                          <a:effectLst/>
                          <a:latin typeface="Arial" panose="020B0604020202020204" pitchFamily="34" charset="0"/>
                        </a:endParaRPr>
                      </a:p>
                    </a:txBody>
                    <a:tcPr marL="9525" marR="9525" marT="72000" marB="7200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l" fontAlgn="b"/>
                        <a:endParaRPr lang="en-US" sz="800" b="0" i="0" u="none" strike="noStrike" dirty="0">
                          <a:solidFill>
                            <a:schemeClr val="bg1"/>
                          </a:solidFill>
                          <a:effectLst/>
                          <a:latin typeface="Arial" panose="020B0604020202020204" pitchFamily="34" charset="0"/>
                        </a:endParaRPr>
                      </a:p>
                    </a:txBody>
                    <a:tcPr marL="9525" marR="9525" marT="72000" marB="7200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l" fontAlgn="b"/>
                        <a:endParaRPr lang="en-US" sz="800" b="0" i="0" u="none" strike="noStrike" dirty="0">
                          <a:solidFill>
                            <a:schemeClr val="bg1"/>
                          </a:solidFill>
                          <a:effectLst/>
                          <a:latin typeface="Arial" panose="020B0604020202020204" pitchFamily="34" charset="0"/>
                        </a:endParaRPr>
                      </a:p>
                    </a:txBody>
                    <a:tcPr marL="9525" marR="9525" marT="72000" marB="7200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l" fontAlgn="b"/>
                        <a:endParaRPr lang="en-US" sz="800" b="0" i="0" u="none" strike="noStrike" dirty="0">
                          <a:solidFill>
                            <a:schemeClr val="bg1"/>
                          </a:solidFill>
                          <a:effectLst/>
                          <a:latin typeface="Arial" panose="020B0604020202020204" pitchFamily="34" charset="0"/>
                        </a:endParaRPr>
                      </a:p>
                    </a:txBody>
                    <a:tcPr marL="9525" marR="9525" marT="72000" marB="72000">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l" fontAlgn="b"/>
                        <a:endParaRPr lang="en-US" sz="800" b="0" i="0" u="none" strike="noStrike" dirty="0">
                          <a:solidFill>
                            <a:schemeClr val="bg1"/>
                          </a:solidFill>
                          <a:effectLst/>
                          <a:latin typeface="Arial" panose="020B0604020202020204" pitchFamily="34" charset="0"/>
                        </a:endParaRPr>
                      </a:p>
                    </a:txBody>
                    <a:tcPr marL="9525" marR="9525" marT="72000" marB="72000">
                      <a:lnL w="6350" cap="flat" cmpd="sng" algn="ctr">
                        <a:solidFill>
                          <a:srgbClr val="CCCCCC"/>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CCCCCC"/>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3419327572"/>
                    </a:ext>
                  </a:extLst>
                </a:tr>
              </a:tbl>
            </a:graphicData>
          </a:graphic>
        </p:graphicFrame>
      </p:grpSp>
      <p:grpSp>
        <p:nvGrpSpPr>
          <p:cNvPr id="41" name="Gruppieren 40">
            <a:extLst>
              <a:ext uri="{FF2B5EF4-FFF2-40B4-BE49-F238E27FC236}">
                <a16:creationId xmlns:a16="http://schemas.microsoft.com/office/drawing/2014/main" id="{FA2E6022-8B9D-D351-DD1C-38C2D1869FA2}"/>
              </a:ext>
            </a:extLst>
          </p:cNvPr>
          <p:cNvGrpSpPr/>
          <p:nvPr/>
        </p:nvGrpSpPr>
        <p:grpSpPr>
          <a:xfrm>
            <a:off x="274081" y="1002602"/>
            <a:ext cx="10696446" cy="4845495"/>
            <a:chOff x="274081" y="1058888"/>
            <a:chExt cx="10696446" cy="4845495"/>
          </a:xfrm>
        </p:grpSpPr>
        <p:sp>
          <p:nvSpPr>
            <p:cNvPr id="9" name="Textbox">
              <a:extLst>
                <a:ext uri="{FF2B5EF4-FFF2-40B4-BE49-F238E27FC236}">
                  <a16:creationId xmlns:a16="http://schemas.microsoft.com/office/drawing/2014/main" id="{EA77393C-817C-1346-C04D-9B7158E90D8E}"/>
                </a:ext>
              </a:extLst>
            </p:cNvPr>
            <p:cNvSpPr txBox="1">
              <a:spLocks/>
            </p:cNvSpPr>
            <p:nvPr>
              <p:custDataLst>
                <p:tags r:id="rId4"/>
              </p:custDataLst>
            </p:nvPr>
          </p:nvSpPr>
          <p:spPr>
            <a:xfrm>
              <a:off x="8121816" y="1058888"/>
              <a:ext cx="695703" cy="283022"/>
            </a:xfrm>
            <a:prstGeom prst="rect">
              <a:avLst/>
            </a:prstGeom>
            <a:noFill/>
            <a:extLst>
              <a:ext uri="{909E8E84-426E-40DD-AFC4-6F175D3DCCD1}">
                <a14:hiddenFill xmlns:a14="http://schemas.microsoft.com/office/drawing/2010/main">
                  <a:solidFill>
                    <a:srgbClr val="001A54"/>
                  </a:solidFill>
                </a14:hiddenFill>
              </a:ext>
            </a:extLst>
          </p:spPr>
          <p:txBody>
            <a:bodyPr vert="horz" wrap="none" lIns="0" tIns="0" rIns="0" bIns="36000" rtlCol="0">
              <a:spAutoFit/>
            </a:bodyPr>
            <a:lstStyle>
              <a:lvl1pPr marL="0" indent="0" algn="l" defTabSz="863995" rtl="0" eaLnBrk="1" latinLnBrk="0" hangingPunct="1">
                <a:lnSpc>
                  <a:spcPct val="120000"/>
                </a:lnSpc>
                <a:spcBef>
                  <a:spcPts val="1600"/>
                </a:spcBef>
                <a:spcAft>
                  <a:spcPts val="0"/>
                </a:spcAft>
                <a:buClr>
                  <a:schemeClr val="tx1"/>
                </a:buClr>
                <a:buFontTx/>
                <a:buNone/>
                <a:defRPr sz="1600" b="1" i="0" kern="1200">
                  <a:solidFill>
                    <a:srgbClr val="001A54"/>
                  </a:solidFill>
                  <a:latin typeface="+mn-lt"/>
                  <a:ea typeface="Aktiv Grotesk" panose="020B0504020202020204" pitchFamily="34" charset="0"/>
                  <a:cs typeface="Arial" panose="020B0604020202020204" pitchFamily="34" charset="0"/>
                </a:defRPr>
              </a:lvl1pPr>
              <a:lvl2pPr marL="0" indent="0" algn="l" defTabSz="863995" rtl="0" eaLnBrk="1" latinLnBrk="0" hangingPunct="1">
                <a:lnSpc>
                  <a:spcPct val="120000"/>
                </a:lnSpc>
                <a:spcBef>
                  <a:spcPts val="800"/>
                </a:spcBef>
                <a:spcAft>
                  <a:spcPts val="0"/>
                </a:spcAft>
                <a:buClr>
                  <a:schemeClr val="tx1"/>
                </a:buClr>
                <a:buFontTx/>
                <a:buNone/>
                <a:defRPr sz="1600" b="0" i="0" kern="1200">
                  <a:solidFill>
                    <a:srgbClr val="001A54"/>
                  </a:solidFill>
                  <a:latin typeface="+mn-lt"/>
                  <a:ea typeface="Aktiv Grotesk" panose="020B0504020202020204" pitchFamily="34" charset="0"/>
                  <a:cs typeface="Arial" panose="020B0604020202020204" pitchFamily="34" charset="0"/>
                </a:defRPr>
              </a:lvl2pPr>
              <a:lvl3pPr marL="180000" indent="-179388" algn="l" defTabSz="863995" rtl="0" eaLnBrk="1" latinLnBrk="0" hangingPunct="1">
                <a:lnSpc>
                  <a:spcPct val="120000"/>
                </a:lnSpc>
                <a:spcBef>
                  <a:spcPts val="800"/>
                </a:spcBef>
                <a:spcAft>
                  <a:spcPts val="0"/>
                </a:spcAft>
                <a:buClrTx/>
                <a:buFont typeface="Arial" panose="020B0604020202020204" pitchFamily="34" charset="0"/>
                <a:buChar char="•"/>
                <a:defRPr sz="1600" b="0" i="0" kern="1200">
                  <a:solidFill>
                    <a:srgbClr val="001A54"/>
                  </a:solidFill>
                  <a:latin typeface="+mn-lt"/>
                  <a:ea typeface="Aktiv Grotesk" panose="020B0504020202020204" pitchFamily="34" charset="0"/>
                  <a:cs typeface="Arial" panose="020B0604020202020204" pitchFamily="34" charset="0"/>
                </a:defRPr>
              </a:lvl3pPr>
              <a:lvl4pPr marL="360000" indent="-180000" algn="l" defTabSz="863995" rtl="0" eaLnBrk="1" latinLnBrk="0" hangingPunct="1">
                <a:lnSpc>
                  <a:spcPct val="120000"/>
                </a:lnSpc>
                <a:spcBef>
                  <a:spcPts val="800"/>
                </a:spcBef>
                <a:spcAft>
                  <a:spcPts val="0"/>
                </a:spcAft>
                <a:buClrTx/>
                <a:buFont typeface="Arial" panose="020B0604020202020204" pitchFamily="34" charset="0"/>
                <a:buChar char="•"/>
                <a:defRPr sz="1600" b="0" i="0" kern="1200">
                  <a:solidFill>
                    <a:srgbClr val="001A54"/>
                  </a:solidFill>
                  <a:latin typeface="+mn-lt"/>
                  <a:ea typeface="Aktiv Grotesk" panose="020B0504020202020204" pitchFamily="34" charset="0"/>
                  <a:cs typeface="Arial" panose="020B0604020202020204" pitchFamily="34" charset="0"/>
                </a:defRPr>
              </a:lvl4pPr>
              <a:lvl5pPr marL="540000" indent="-180000" algn="l" defTabSz="863995" rtl="0" eaLnBrk="1" latinLnBrk="0" hangingPunct="1">
                <a:lnSpc>
                  <a:spcPct val="120000"/>
                </a:lnSpc>
                <a:spcBef>
                  <a:spcPts val="800"/>
                </a:spcBef>
                <a:spcAft>
                  <a:spcPts val="0"/>
                </a:spcAft>
                <a:buClrTx/>
                <a:buFont typeface="Arial" panose="020B0604020202020204" pitchFamily="34" charset="0"/>
                <a:buChar char="•"/>
                <a:defRPr sz="1600" b="0" i="0" kern="1200">
                  <a:solidFill>
                    <a:srgbClr val="001A54"/>
                  </a:solidFill>
                  <a:latin typeface="+mn-lt"/>
                  <a:ea typeface="Aktiv Grotesk" panose="020B0504020202020204" pitchFamily="34" charset="0"/>
                  <a:cs typeface="Arial" panose="020B0604020202020204" pitchFamily="34" charset="0"/>
                </a:defRPr>
              </a:lvl5pPr>
              <a:lvl6pPr marL="2375986" indent="-215998" algn="l" defTabSz="86399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6pPr>
              <a:lvl7pPr marL="2807984" indent="-215998" algn="l" defTabSz="86399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7pPr>
              <a:lvl8pPr marL="3239981" indent="-215998" algn="l" defTabSz="86399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8pPr>
              <a:lvl9pPr marL="3671979" indent="-215998" algn="l" defTabSz="86399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9pPr>
            </a:lstStyle>
            <a:p>
              <a:pPr marL="0" marR="0" lvl="0" indent="0" algn="l" defTabSz="863995" rtl="0" eaLnBrk="1" fontAlgn="auto" latinLnBrk="0" hangingPunct="1">
                <a:lnSpc>
                  <a:spcPct val="120000"/>
                </a:lnSpc>
                <a:spcBef>
                  <a:spcPts val="800"/>
                </a:spcBef>
                <a:spcAft>
                  <a:spcPts val="0"/>
                </a:spcAft>
                <a:buClr>
                  <a:srgbClr val="001A54"/>
                </a:buClr>
                <a:buSzTx/>
                <a:buFontTx/>
                <a:buNone/>
                <a:tabLst/>
                <a:defRPr/>
              </a:pPr>
              <a:r>
                <a:rPr kumimoji="0" lang="en" sz="700" b="0" i="0" u="none" strike="noStrike" kern="1200" cap="none" spc="0" normalizeH="0" baseline="0" noProof="0">
                  <a:ln>
                    <a:noFill/>
                  </a:ln>
                  <a:solidFill>
                    <a:srgbClr val="001A54"/>
                  </a:solidFill>
                  <a:effectLst/>
                  <a:uLnTx/>
                  <a:uFillTx/>
                  <a:latin typeface="Arial" panose="020B0604020202020204"/>
                  <a:cs typeface="Arial" panose="020B0604020202020204" pitchFamily="34" charset="0"/>
                </a:rPr>
                <a:t>Expected to be</a:t>
              </a:r>
              <a:br>
                <a:rPr kumimoji="0" lang="en-US" sz="700" b="0" i="0" u="none" strike="noStrike" kern="1200" cap="none" spc="0" normalizeH="0" baseline="0" noProof="0">
                  <a:ln>
                    <a:noFill/>
                  </a:ln>
                  <a:solidFill>
                    <a:srgbClr val="001A54"/>
                  </a:solidFill>
                  <a:effectLst/>
                  <a:uLnTx/>
                  <a:uFillTx/>
                  <a:latin typeface="Arial" panose="020B0604020202020204"/>
                  <a:cs typeface="Arial" panose="020B0604020202020204" pitchFamily="34" charset="0"/>
                </a:rPr>
              </a:br>
              <a:r>
                <a:rPr kumimoji="0" lang="en" sz="700" b="0" i="0" u="none" strike="noStrike" kern="1200" cap="none" spc="0" normalizeH="0" baseline="0" noProof="0">
                  <a:ln>
                    <a:noFill/>
                  </a:ln>
                  <a:solidFill>
                    <a:srgbClr val="001A54"/>
                  </a:solidFill>
                  <a:effectLst/>
                  <a:uLnTx/>
                  <a:uFillTx/>
                  <a:latin typeface="Arial" panose="020B0604020202020204"/>
                  <a:cs typeface="Arial" panose="020B0604020202020204" pitchFamily="34" charset="0"/>
                </a:rPr>
                <a:t>applicable mid 26</a:t>
              </a:r>
            </a:p>
          </p:txBody>
        </p:sp>
        <p:cxnSp>
          <p:nvCxnSpPr>
            <p:cNvPr id="11" name="Gerader Verbinder 10">
              <a:extLst>
                <a:ext uri="{FF2B5EF4-FFF2-40B4-BE49-F238E27FC236}">
                  <a16:creationId xmlns:a16="http://schemas.microsoft.com/office/drawing/2014/main" id="{15373941-5A28-8495-8E4F-E9446C0C0C84}"/>
                </a:ext>
              </a:extLst>
            </p:cNvPr>
            <p:cNvCxnSpPr>
              <a:cxnSpLocks/>
            </p:cNvCxnSpPr>
            <p:nvPr/>
          </p:nvCxnSpPr>
          <p:spPr>
            <a:xfrm>
              <a:off x="4540102" y="1655911"/>
              <a:ext cx="871870" cy="0"/>
            </a:xfrm>
            <a:prstGeom prst="line">
              <a:avLst/>
            </a:prstGeom>
            <a:ln w="19050" cmpd="sng">
              <a:solidFill>
                <a:srgbClr val="001A54"/>
              </a:solidFill>
              <a:prstDash val="solid"/>
            </a:ln>
          </p:spPr>
          <p:style>
            <a:lnRef idx="1">
              <a:schemeClr val="accent1"/>
            </a:lnRef>
            <a:fillRef idx="0">
              <a:schemeClr val="accent1"/>
            </a:fillRef>
            <a:effectRef idx="0">
              <a:schemeClr val="accent1"/>
            </a:effectRef>
            <a:fontRef idx="minor">
              <a:schemeClr val="tx1"/>
            </a:fontRef>
          </p:style>
        </p:cxnSp>
        <p:cxnSp>
          <p:nvCxnSpPr>
            <p:cNvPr id="12" name="Gerader Verbinder 11">
              <a:extLst>
                <a:ext uri="{FF2B5EF4-FFF2-40B4-BE49-F238E27FC236}">
                  <a16:creationId xmlns:a16="http://schemas.microsoft.com/office/drawing/2014/main" id="{B4E96A54-55E2-BABE-6640-0A39EC2D3F76}"/>
                </a:ext>
              </a:extLst>
            </p:cNvPr>
            <p:cNvCxnSpPr>
              <a:cxnSpLocks/>
            </p:cNvCxnSpPr>
            <p:nvPr/>
          </p:nvCxnSpPr>
          <p:spPr>
            <a:xfrm>
              <a:off x="5350933" y="1655911"/>
              <a:ext cx="5616000" cy="0"/>
            </a:xfrm>
            <a:prstGeom prst="line">
              <a:avLst/>
            </a:prstGeom>
            <a:ln w="19050" cmpd="sng">
              <a:solidFill>
                <a:srgbClr val="001A54"/>
              </a:solidFill>
              <a:prstDash val="solid"/>
              <a:headEnd type="oval"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4" name="Textbox">
              <a:extLst>
                <a:ext uri="{FF2B5EF4-FFF2-40B4-BE49-F238E27FC236}">
                  <a16:creationId xmlns:a16="http://schemas.microsoft.com/office/drawing/2014/main" id="{71661F89-FA5D-7B44-FEAF-43435FA589C6}"/>
                </a:ext>
              </a:extLst>
            </p:cNvPr>
            <p:cNvSpPr txBox="1">
              <a:spLocks/>
            </p:cNvSpPr>
            <p:nvPr>
              <p:custDataLst>
                <p:tags r:id="rId5"/>
              </p:custDataLst>
            </p:nvPr>
          </p:nvSpPr>
          <p:spPr>
            <a:xfrm>
              <a:off x="5350933" y="1502155"/>
              <a:ext cx="543418" cy="153756"/>
            </a:xfrm>
            <a:prstGeom prst="rect">
              <a:avLst/>
            </a:prstGeom>
            <a:noFill/>
            <a:extLst>
              <a:ext uri="{909E8E84-426E-40DD-AFC4-6F175D3DCCD1}">
                <a14:hiddenFill xmlns:a14="http://schemas.microsoft.com/office/drawing/2010/main">
                  <a:solidFill>
                    <a:srgbClr val="001A54"/>
                  </a:solidFill>
                </a14:hiddenFill>
              </a:ext>
            </a:extLst>
          </p:spPr>
          <p:txBody>
            <a:bodyPr vert="horz" wrap="none" lIns="0" tIns="0" rIns="0" bIns="36000" rtlCol="0">
              <a:spAutoFit/>
            </a:bodyPr>
            <a:lstStyle>
              <a:lvl1pPr marL="0" indent="0" algn="l" defTabSz="863995" rtl="0" eaLnBrk="1" latinLnBrk="0" hangingPunct="1">
                <a:lnSpc>
                  <a:spcPct val="120000"/>
                </a:lnSpc>
                <a:spcBef>
                  <a:spcPts val="1600"/>
                </a:spcBef>
                <a:spcAft>
                  <a:spcPts val="0"/>
                </a:spcAft>
                <a:buClr>
                  <a:schemeClr val="tx1"/>
                </a:buClr>
                <a:buFontTx/>
                <a:buNone/>
                <a:defRPr sz="1600" b="1" i="0" kern="1200">
                  <a:solidFill>
                    <a:srgbClr val="001A54"/>
                  </a:solidFill>
                  <a:latin typeface="+mn-lt"/>
                  <a:ea typeface="Aktiv Grotesk" panose="020B0504020202020204" pitchFamily="34" charset="0"/>
                  <a:cs typeface="Arial" panose="020B0604020202020204" pitchFamily="34" charset="0"/>
                </a:defRPr>
              </a:lvl1pPr>
              <a:lvl2pPr marL="0" indent="0" algn="l" defTabSz="863995" rtl="0" eaLnBrk="1" latinLnBrk="0" hangingPunct="1">
                <a:lnSpc>
                  <a:spcPct val="120000"/>
                </a:lnSpc>
                <a:spcBef>
                  <a:spcPts val="800"/>
                </a:spcBef>
                <a:spcAft>
                  <a:spcPts val="0"/>
                </a:spcAft>
                <a:buClr>
                  <a:schemeClr val="tx1"/>
                </a:buClr>
                <a:buFontTx/>
                <a:buNone/>
                <a:defRPr sz="1600" b="0" i="0" kern="1200">
                  <a:solidFill>
                    <a:srgbClr val="001A54"/>
                  </a:solidFill>
                  <a:latin typeface="+mn-lt"/>
                  <a:ea typeface="Aktiv Grotesk" panose="020B0504020202020204" pitchFamily="34" charset="0"/>
                  <a:cs typeface="Arial" panose="020B0604020202020204" pitchFamily="34" charset="0"/>
                </a:defRPr>
              </a:lvl2pPr>
              <a:lvl3pPr marL="180000" indent="-179388" algn="l" defTabSz="863995" rtl="0" eaLnBrk="1" latinLnBrk="0" hangingPunct="1">
                <a:lnSpc>
                  <a:spcPct val="120000"/>
                </a:lnSpc>
                <a:spcBef>
                  <a:spcPts val="800"/>
                </a:spcBef>
                <a:spcAft>
                  <a:spcPts val="0"/>
                </a:spcAft>
                <a:buClrTx/>
                <a:buFont typeface="Arial" panose="020B0604020202020204" pitchFamily="34" charset="0"/>
                <a:buChar char="•"/>
                <a:defRPr sz="1600" b="0" i="0" kern="1200">
                  <a:solidFill>
                    <a:srgbClr val="001A54"/>
                  </a:solidFill>
                  <a:latin typeface="+mn-lt"/>
                  <a:ea typeface="Aktiv Grotesk" panose="020B0504020202020204" pitchFamily="34" charset="0"/>
                  <a:cs typeface="Arial" panose="020B0604020202020204" pitchFamily="34" charset="0"/>
                </a:defRPr>
              </a:lvl3pPr>
              <a:lvl4pPr marL="360000" indent="-180000" algn="l" defTabSz="863995" rtl="0" eaLnBrk="1" latinLnBrk="0" hangingPunct="1">
                <a:lnSpc>
                  <a:spcPct val="120000"/>
                </a:lnSpc>
                <a:spcBef>
                  <a:spcPts val="800"/>
                </a:spcBef>
                <a:spcAft>
                  <a:spcPts val="0"/>
                </a:spcAft>
                <a:buClrTx/>
                <a:buFont typeface="Arial" panose="020B0604020202020204" pitchFamily="34" charset="0"/>
                <a:buChar char="•"/>
                <a:defRPr sz="1600" b="0" i="0" kern="1200">
                  <a:solidFill>
                    <a:srgbClr val="001A54"/>
                  </a:solidFill>
                  <a:latin typeface="+mn-lt"/>
                  <a:ea typeface="Aktiv Grotesk" panose="020B0504020202020204" pitchFamily="34" charset="0"/>
                  <a:cs typeface="Arial" panose="020B0604020202020204" pitchFamily="34" charset="0"/>
                </a:defRPr>
              </a:lvl4pPr>
              <a:lvl5pPr marL="540000" indent="-180000" algn="l" defTabSz="863995" rtl="0" eaLnBrk="1" latinLnBrk="0" hangingPunct="1">
                <a:lnSpc>
                  <a:spcPct val="120000"/>
                </a:lnSpc>
                <a:spcBef>
                  <a:spcPts val="800"/>
                </a:spcBef>
                <a:spcAft>
                  <a:spcPts val="0"/>
                </a:spcAft>
                <a:buClrTx/>
                <a:buFont typeface="Arial" panose="020B0604020202020204" pitchFamily="34" charset="0"/>
                <a:buChar char="•"/>
                <a:defRPr sz="1600" b="0" i="0" kern="1200">
                  <a:solidFill>
                    <a:srgbClr val="001A54"/>
                  </a:solidFill>
                  <a:latin typeface="+mn-lt"/>
                  <a:ea typeface="Aktiv Grotesk" panose="020B0504020202020204" pitchFamily="34" charset="0"/>
                  <a:cs typeface="Arial" panose="020B0604020202020204" pitchFamily="34" charset="0"/>
                </a:defRPr>
              </a:lvl5pPr>
              <a:lvl6pPr marL="2375986" indent="-215998" algn="l" defTabSz="86399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6pPr>
              <a:lvl7pPr marL="2807984" indent="-215998" algn="l" defTabSz="86399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7pPr>
              <a:lvl8pPr marL="3239981" indent="-215998" algn="l" defTabSz="86399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8pPr>
              <a:lvl9pPr marL="3671979" indent="-215998" algn="l" defTabSz="86399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9pPr>
            </a:lstStyle>
            <a:p>
              <a:pPr marL="0" marR="0" lvl="0" indent="0" algn="l" defTabSz="863995" rtl="0" eaLnBrk="1" fontAlgn="auto" latinLnBrk="0" hangingPunct="1">
                <a:lnSpc>
                  <a:spcPct val="120000"/>
                </a:lnSpc>
                <a:spcBef>
                  <a:spcPts val="800"/>
                </a:spcBef>
                <a:spcAft>
                  <a:spcPts val="0"/>
                </a:spcAft>
                <a:buClr>
                  <a:srgbClr val="001A54"/>
                </a:buClr>
                <a:buSzTx/>
                <a:buFontTx/>
                <a:buNone/>
                <a:tabLst/>
                <a:defRPr/>
              </a:pPr>
              <a:r>
                <a:rPr kumimoji="0" lang="en" sz="700" b="0" i="0" u="none" strike="noStrike" kern="1200" cap="none" spc="0" normalizeH="0" baseline="0" noProof="0" dirty="0">
                  <a:ln>
                    <a:noFill/>
                  </a:ln>
                  <a:solidFill>
                    <a:schemeClr val="tx1"/>
                  </a:solidFill>
                  <a:effectLst/>
                  <a:uLnTx/>
                  <a:uFillTx/>
                  <a:latin typeface="Arial" panose="020B0604020202020204"/>
                  <a:cs typeface="Arial" panose="020B0604020202020204" pitchFamily="34" charset="0"/>
                </a:rPr>
                <a:t>released 2/23</a:t>
              </a:r>
            </a:p>
          </p:txBody>
        </p:sp>
        <p:sp>
          <p:nvSpPr>
            <p:cNvPr id="15" name="Textbox">
              <a:extLst>
                <a:ext uri="{FF2B5EF4-FFF2-40B4-BE49-F238E27FC236}">
                  <a16:creationId xmlns:a16="http://schemas.microsoft.com/office/drawing/2014/main" id="{94C04B8E-BBFA-558D-C52F-3619BC28E98B}"/>
                </a:ext>
              </a:extLst>
            </p:cNvPr>
            <p:cNvSpPr txBox="1">
              <a:spLocks/>
            </p:cNvSpPr>
            <p:nvPr>
              <p:custDataLst>
                <p:tags r:id="rId6"/>
              </p:custDataLst>
            </p:nvPr>
          </p:nvSpPr>
          <p:spPr>
            <a:xfrm>
              <a:off x="4540102" y="1502155"/>
              <a:ext cx="349455" cy="153756"/>
            </a:xfrm>
            <a:prstGeom prst="rect">
              <a:avLst/>
            </a:prstGeom>
            <a:noFill/>
            <a:extLst>
              <a:ext uri="{909E8E84-426E-40DD-AFC4-6F175D3DCCD1}">
                <a14:hiddenFill xmlns:a14="http://schemas.microsoft.com/office/drawing/2010/main">
                  <a:solidFill>
                    <a:srgbClr val="001A54"/>
                  </a:solidFill>
                </a14:hiddenFill>
              </a:ext>
            </a:extLst>
          </p:spPr>
          <p:txBody>
            <a:bodyPr vert="horz" wrap="none" lIns="0" tIns="0" rIns="0" bIns="36000" rtlCol="0">
              <a:spAutoFit/>
            </a:bodyPr>
            <a:lstStyle>
              <a:lvl1pPr marL="0" indent="0" algn="l" defTabSz="863995" rtl="0" eaLnBrk="1" latinLnBrk="0" hangingPunct="1">
                <a:lnSpc>
                  <a:spcPct val="120000"/>
                </a:lnSpc>
                <a:spcBef>
                  <a:spcPts val="1600"/>
                </a:spcBef>
                <a:spcAft>
                  <a:spcPts val="0"/>
                </a:spcAft>
                <a:buClr>
                  <a:schemeClr val="tx1"/>
                </a:buClr>
                <a:buFontTx/>
                <a:buNone/>
                <a:defRPr sz="1600" b="1" i="0" kern="1200">
                  <a:solidFill>
                    <a:srgbClr val="001A54"/>
                  </a:solidFill>
                  <a:latin typeface="+mn-lt"/>
                  <a:ea typeface="Aktiv Grotesk" panose="020B0504020202020204" pitchFamily="34" charset="0"/>
                  <a:cs typeface="Arial" panose="020B0604020202020204" pitchFamily="34" charset="0"/>
                </a:defRPr>
              </a:lvl1pPr>
              <a:lvl2pPr marL="0" indent="0" algn="l" defTabSz="863995" rtl="0" eaLnBrk="1" latinLnBrk="0" hangingPunct="1">
                <a:lnSpc>
                  <a:spcPct val="120000"/>
                </a:lnSpc>
                <a:spcBef>
                  <a:spcPts val="800"/>
                </a:spcBef>
                <a:spcAft>
                  <a:spcPts val="0"/>
                </a:spcAft>
                <a:buClr>
                  <a:schemeClr val="tx1"/>
                </a:buClr>
                <a:buFontTx/>
                <a:buNone/>
                <a:defRPr sz="1600" b="0" i="0" kern="1200">
                  <a:solidFill>
                    <a:srgbClr val="001A54"/>
                  </a:solidFill>
                  <a:latin typeface="+mn-lt"/>
                  <a:ea typeface="Aktiv Grotesk" panose="020B0504020202020204" pitchFamily="34" charset="0"/>
                  <a:cs typeface="Arial" panose="020B0604020202020204" pitchFamily="34" charset="0"/>
                </a:defRPr>
              </a:lvl2pPr>
              <a:lvl3pPr marL="180000" indent="-179388" algn="l" defTabSz="863995" rtl="0" eaLnBrk="1" latinLnBrk="0" hangingPunct="1">
                <a:lnSpc>
                  <a:spcPct val="120000"/>
                </a:lnSpc>
                <a:spcBef>
                  <a:spcPts val="800"/>
                </a:spcBef>
                <a:spcAft>
                  <a:spcPts val="0"/>
                </a:spcAft>
                <a:buClrTx/>
                <a:buFont typeface="Arial" panose="020B0604020202020204" pitchFamily="34" charset="0"/>
                <a:buChar char="•"/>
                <a:defRPr sz="1600" b="0" i="0" kern="1200">
                  <a:solidFill>
                    <a:srgbClr val="001A54"/>
                  </a:solidFill>
                  <a:latin typeface="+mn-lt"/>
                  <a:ea typeface="Aktiv Grotesk" panose="020B0504020202020204" pitchFamily="34" charset="0"/>
                  <a:cs typeface="Arial" panose="020B0604020202020204" pitchFamily="34" charset="0"/>
                </a:defRPr>
              </a:lvl3pPr>
              <a:lvl4pPr marL="360000" indent="-180000" algn="l" defTabSz="863995" rtl="0" eaLnBrk="1" latinLnBrk="0" hangingPunct="1">
                <a:lnSpc>
                  <a:spcPct val="120000"/>
                </a:lnSpc>
                <a:spcBef>
                  <a:spcPts val="800"/>
                </a:spcBef>
                <a:spcAft>
                  <a:spcPts val="0"/>
                </a:spcAft>
                <a:buClrTx/>
                <a:buFont typeface="Arial" panose="020B0604020202020204" pitchFamily="34" charset="0"/>
                <a:buChar char="•"/>
                <a:defRPr sz="1600" b="0" i="0" kern="1200">
                  <a:solidFill>
                    <a:srgbClr val="001A54"/>
                  </a:solidFill>
                  <a:latin typeface="+mn-lt"/>
                  <a:ea typeface="Aktiv Grotesk" panose="020B0504020202020204" pitchFamily="34" charset="0"/>
                  <a:cs typeface="Arial" panose="020B0604020202020204" pitchFamily="34" charset="0"/>
                </a:defRPr>
              </a:lvl4pPr>
              <a:lvl5pPr marL="540000" indent="-180000" algn="l" defTabSz="863995" rtl="0" eaLnBrk="1" latinLnBrk="0" hangingPunct="1">
                <a:lnSpc>
                  <a:spcPct val="120000"/>
                </a:lnSpc>
                <a:spcBef>
                  <a:spcPts val="800"/>
                </a:spcBef>
                <a:spcAft>
                  <a:spcPts val="0"/>
                </a:spcAft>
                <a:buClrTx/>
                <a:buFont typeface="Arial" panose="020B0604020202020204" pitchFamily="34" charset="0"/>
                <a:buChar char="•"/>
                <a:defRPr sz="1600" b="0" i="0" kern="1200">
                  <a:solidFill>
                    <a:srgbClr val="001A54"/>
                  </a:solidFill>
                  <a:latin typeface="+mn-lt"/>
                  <a:ea typeface="Aktiv Grotesk" panose="020B0504020202020204" pitchFamily="34" charset="0"/>
                  <a:cs typeface="Arial" panose="020B0604020202020204" pitchFamily="34" charset="0"/>
                </a:defRPr>
              </a:lvl5pPr>
              <a:lvl6pPr marL="2375986" indent="-215998" algn="l" defTabSz="86399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6pPr>
              <a:lvl7pPr marL="2807984" indent="-215998" algn="l" defTabSz="86399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7pPr>
              <a:lvl8pPr marL="3239981" indent="-215998" algn="l" defTabSz="86399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8pPr>
              <a:lvl9pPr marL="3671979" indent="-215998" algn="l" defTabSz="86399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9pPr>
            </a:lstStyle>
            <a:p>
              <a:pPr marL="0" marR="0" lvl="0" indent="0" algn="l" defTabSz="863995" rtl="0" eaLnBrk="1" fontAlgn="auto" latinLnBrk="0" hangingPunct="1">
                <a:lnSpc>
                  <a:spcPct val="120000"/>
                </a:lnSpc>
                <a:spcBef>
                  <a:spcPts val="800"/>
                </a:spcBef>
                <a:spcAft>
                  <a:spcPts val="0"/>
                </a:spcAft>
                <a:buClr>
                  <a:srgbClr val="001A54"/>
                </a:buClr>
                <a:buSzTx/>
                <a:buFontTx/>
                <a:buNone/>
                <a:tabLst/>
                <a:defRPr/>
              </a:pPr>
              <a:r>
                <a:rPr kumimoji="0" lang="en" sz="700" b="0" i="0" u="none" strike="noStrike" kern="1200" cap="none" spc="0" normalizeH="0" baseline="0" noProof="0" dirty="0">
                  <a:ln>
                    <a:noFill/>
                  </a:ln>
                  <a:solidFill>
                    <a:schemeClr val="tx1"/>
                  </a:solidFill>
                  <a:effectLst/>
                  <a:uLnTx/>
                  <a:uFillTx/>
                  <a:latin typeface="Arial" panose="020B0604020202020204"/>
                  <a:cs typeface="Arial" panose="020B0604020202020204" pitchFamily="34" charset="0"/>
                </a:rPr>
                <a:t>DIS 1/22</a:t>
              </a:r>
            </a:p>
          </p:txBody>
        </p:sp>
        <p:cxnSp>
          <p:nvCxnSpPr>
            <p:cNvPr id="16" name="Gerader Verbinder 15">
              <a:extLst>
                <a:ext uri="{FF2B5EF4-FFF2-40B4-BE49-F238E27FC236}">
                  <a16:creationId xmlns:a16="http://schemas.microsoft.com/office/drawing/2014/main" id="{F8390E9F-FAE4-D53B-3439-300D512BB225}"/>
                </a:ext>
              </a:extLst>
            </p:cNvPr>
            <p:cNvCxnSpPr>
              <a:cxnSpLocks/>
            </p:cNvCxnSpPr>
            <p:nvPr/>
          </p:nvCxnSpPr>
          <p:spPr>
            <a:xfrm>
              <a:off x="4835820" y="1983395"/>
              <a:ext cx="1692000" cy="0"/>
            </a:xfrm>
            <a:prstGeom prst="line">
              <a:avLst/>
            </a:prstGeom>
            <a:ln w="19050" cmpd="sng">
              <a:solidFill>
                <a:srgbClr val="001A54"/>
              </a:solidFill>
              <a:prstDash val="solid"/>
              <a:headEnd type="oval" w="med" len="med"/>
              <a:tailEnd type="none" w="med" len="med"/>
            </a:ln>
          </p:spPr>
          <p:style>
            <a:lnRef idx="1">
              <a:schemeClr val="accent1"/>
            </a:lnRef>
            <a:fillRef idx="0">
              <a:schemeClr val="accent1"/>
            </a:fillRef>
            <a:effectRef idx="0">
              <a:schemeClr val="accent1"/>
            </a:effectRef>
            <a:fontRef idx="minor">
              <a:schemeClr val="tx1"/>
            </a:fontRef>
          </p:style>
        </p:cxnSp>
        <p:sp>
          <p:nvSpPr>
            <p:cNvPr id="17" name="Textbox">
              <a:extLst>
                <a:ext uri="{FF2B5EF4-FFF2-40B4-BE49-F238E27FC236}">
                  <a16:creationId xmlns:a16="http://schemas.microsoft.com/office/drawing/2014/main" id="{FCB08260-B162-3ECF-CC48-C857CFBC950E}"/>
                </a:ext>
              </a:extLst>
            </p:cNvPr>
            <p:cNvSpPr txBox="1">
              <a:spLocks/>
            </p:cNvSpPr>
            <p:nvPr>
              <p:custDataLst>
                <p:tags r:id="rId7"/>
              </p:custDataLst>
            </p:nvPr>
          </p:nvSpPr>
          <p:spPr>
            <a:xfrm>
              <a:off x="4835820" y="1829639"/>
              <a:ext cx="604333" cy="153756"/>
            </a:xfrm>
            <a:prstGeom prst="rect">
              <a:avLst/>
            </a:prstGeom>
            <a:noFill/>
            <a:extLst>
              <a:ext uri="{909E8E84-426E-40DD-AFC4-6F175D3DCCD1}">
                <a14:hiddenFill xmlns:a14="http://schemas.microsoft.com/office/drawing/2010/main">
                  <a:solidFill>
                    <a:srgbClr val="001A54"/>
                  </a:solidFill>
                </a14:hiddenFill>
              </a:ext>
            </a:extLst>
          </p:spPr>
          <p:txBody>
            <a:bodyPr vert="horz" wrap="none" lIns="0" tIns="0" rIns="0" bIns="36000" rtlCol="0">
              <a:spAutoFit/>
            </a:bodyPr>
            <a:lstStyle>
              <a:lvl1pPr marL="0" indent="0" algn="l" defTabSz="863995" rtl="0" eaLnBrk="1" latinLnBrk="0" hangingPunct="1">
                <a:lnSpc>
                  <a:spcPct val="120000"/>
                </a:lnSpc>
                <a:spcBef>
                  <a:spcPts val="1600"/>
                </a:spcBef>
                <a:spcAft>
                  <a:spcPts val="0"/>
                </a:spcAft>
                <a:buClr>
                  <a:schemeClr val="tx1"/>
                </a:buClr>
                <a:buFontTx/>
                <a:buNone/>
                <a:defRPr sz="1600" b="1" i="0" kern="1200">
                  <a:solidFill>
                    <a:srgbClr val="001A54"/>
                  </a:solidFill>
                  <a:latin typeface="+mn-lt"/>
                  <a:ea typeface="Aktiv Grotesk" panose="020B0504020202020204" pitchFamily="34" charset="0"/>
                  <a:cs typeface="Arial" panose="020B0604020202020204" pitchFamily="34" charset="0"/>
                </a:defRPr>
              </a:lvl1pPr>
              <a:lvl2pPr marL="0" indent="0" algn="l" defTabSz="863995" rtl="0" eaLnBrk="1" latinLnBrk="0" hangingPunct="1">
                <a:lnSpc>
                  <a:spcPct val="120000"/>
                </a:lnSpc>
                <a:spcBef>
                  <a:spcPts val="800"/>
                </a:spcBef>
                <a:spcAft>
                  <a:spcPts val="0"/>
                </a:spcAft>
                <a:buClr>
                  <a:schemeClr val="tx1"/>
                </a:buClr>
                <a:buFontTx/>
                <a:buNone/>
                <a:defRPr sz="1600" b="0" i="0" kern="1200">
                  <a:solidFill>
                    <a:srgbClr val="001A54"/>
                  </a:solidFill>
                  <a:latin typeface="+mn-lt"/>
                  <a:ea typeface="Aktiv Grotesk" panose="020B0504020202020204" pitchFamily="34" charset="0"/>
                  <a:cs typeface="Arial" panose="020B0604020202020204" pitchFamily="34" charset="0"/>
                </a:defRPr>
              </a:lvl2pPr>
              <a:lvl3pPr marL="180000" indent="-179388" algn="l" defTabSz="863995" rtl="0" eaLnBrk="1" latinLnBrk="0" hangingPunct="1">
                <a:lnSpc>
                  <a:spcPct val="120000"/>
                </a:lnSpc>
                <a:spcBef>
                  <a:spcPts val="800"/>
                </a:spcBef>
                <a:spcAft>
                  <a:spcPts val="0"/>
                </a:spcAft>
                <a:buClrTx/>
                <a:buFont typeface="Arial" panose="020B0604020202020204" pitchFamily="34" charset="0"/>
                <a:buChar char="•"/>
                <a:defRPr sz="1600" b="0" i="0" kern="1200">
                  <a:solidFill>
                    <a:srgbClr val="001A54"/>
                  </a:solidFill>
                  <a:latin typeface="+mn-lt"/>
                  <a:ea typeface="Aktiv Grotesk" panose="020B0504020202020204" pitchFamily="34" charset="0"/>
                  <a:cs typeface="Arial" panose="020B0604020202020204" pitchFamily="34" charset="0"/>
                </a:defRPr>
              </a:lvl3pPr>
              <a:lvl4pPr marL="360000" indent="-180000" algn="l" defTabSz="863995" rtl="0" eaLnBrk="1" latinLnBrk="0" hangingPunct="1">
                <a:lnSpc>
                  <a:spcPct val="120000"/>
                </a:lnSpc>
                <a:spcBef>
                  <a:spcPts val="800"/>
                </a:spcBef>
                <a:spcAft>
                  <a:spcPts val="0"/>
                </a:spcAft>
                <a:buClrTx/>
                <a:buFont typeface="Arial" panose="020B0604020202020204" pitchFamily="34" charset="0"/>
                <a:buChar char="•"/>
                <a:defRPr sz="1600" b="0" i="0" kern="1200">
                  <a:solidFill>
                    <a:srgbClr val="001A54"/>
                  </a:solidFill>
                  <a:latin typeface="+mn-lt"/>
                  <a:ea typeface="Aktiv Grotesk" panose="020B0504020202020204" pitchFamily="34" charset="0"/>
                  <a:cs typeface="Arial" panose="020B0604020202020204" pitchFamily="34" charset="0"/>
                </a:defRPr>
              </a:lvl4pPr>
              <a:lvl5pPr marL="540000" indent="-180000" algn="l" defTabSz="863995" rtl="0" eaLnBrk="1" latinLnBrk="0" hangingPunct="1">
                <a:lnSpc>
                  <a:spcPct val="120000"/>
                </a:lnSpc>
                <a:spcBef>
                  <a:spcPts val="800"/>
                </a:spcBef>
                <a:spcAft>
                  <a:spcPts val="0"/>
                </a:spcAft>
                <a:buClrTx/>
                <a:buFont typeface="Arial" panose="020B0604020202020204" pitchFamily="34" charset="0"/>
                <a:buChar char="•"/>
                <a:defRPr sz="1600" b="0" i="0" kern="1200">
                  <a:solidFill>
                    <a:srgbClr val="001A54"/>
                  </a:solidFill>
                  <a:latin typeface="+mn-lt"/>
                  <a:ea typeface="Aktiv Grotesk" panose="020B0504020202020204" pitchFamily="34" charset="0"/>
                  <a:cs typeface="Arial" panose="020B0604020202020204" pitchFamily="34" charset="0"/>
                </a:defRPr>
              </a:lvl5pPr>
              <a:lvl6pPr marL="2375986" indent="-215998" algn="l" defTabSz="86399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6pPr>
              <a:lvl7pPr marL="2807984" indent="-215998" algn="l" defTabSz="86399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7pPr>
              <a:lvl8pPr marL="3239981" indent="-215998" algn="l" defTabSz="86399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8pPr>
              <a:lvl9pPr marL="3671979" indent="-215998" algn="l" defTabSz="86399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9pPr>
            </a:lstStyle>
            <a:p>
              <a:pPr marL="0" marR="0" lvl="0" indent="0" algn="l" defTabSz="863995" rtl="0" eaLnBrk="1" fontAlgn="auto" latinLnBrk="0" hangingPunct="1">
                <a:lnSpc>
                  <a:spcPct val="120000"/>
                </a:lnSpc>
                <a:spcBef>
                  <a:spcPts val="800"/>
                </a:spcBef>
                <a:spcAft>
                  <a:spcPts val="0"/>
                </a:spcAft>
                <a:buClr>
                  <a:srgbClr val="001A54"/>
                </a:buClr>
                <a:buSzTx/>
                <a:buFontTx/>
                <a:buNone/>
                <a:tabLst/>
                <a:defRPr/>
              </a:pPr>
              <a:r>
                <a:rPr kumimoji="0" lang="en" sz="700" b="0" i="0" u="none" strike="noStrike" kern="1200" cap="none" spc="0" normalizeH="0" baseline="0" noProof="0">
                  <a:ln>
                    <a:noFill/>
                  </a:ln>
                  <a:solidFill>
                    <a:srgbClr val="FFFFFF"/>
                  </a:solidFill>
                  <a:effectLst/>
                  <a:uLnTx/>
                  <a:uFillTx/>
                  <a:latin typeface="Arial" panose="020B0604020202020204"/>
                  <a:cs typeface="Arial" panose="020B0604020202020204" pitchFamily="34" charset="0"/>
                </a:rPr>
                <a:t>new types 7/22</a:t>
              </a:r>
            </a:p>
          </p:txBody>
        </p:sp>
        <p:cxnSp>
          <p:nvCxnSpPr>
            <p:cNvPr id="18" name="Gerader Verbinder 17">
              <a:extLst>
                <a:ext uri="{FF2B5EF4-FFF2-40B4-BE49-F238E27FC236}">
                  <a16:creationId xmlns:a16="http://schemas.microsoft.com/office/drawing/2014/main" id="{49E9CB6D-996A-BC5C-841E-07FCBC6D0A1A}"/>
                </a:ext>
              </a:extLst>
            </p:cNvPr>
            <p:cNvCxnSpPr>
              <a:cxnSpLocks/>
            </p:cNvCxnSpPr>
            <p:nvPr/>
          </p:nvCxnSpPr>
          <p:spPr>
            <a:xfrm>
              <a:off x="6532033" y="1983395"/>
              <a:ext cx="4434900" cy="0"/>
            </a:xfrm>
            <a:prstGeom prst="line">
              <a:avLst/>
            </a:prstGeom>
            <a:ln w="19050" cmpd="sng">
              <a:solidFill>
                <a:srgbClr val="001A54"/>
              </a:solidFill>
              <a:prstDash val="solid"/>
              <a:headEnd type="oval"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9" name="Textbox">
              <a:extLst>
                <a:ext uri="{FF2B5EF4-FFF2-40B4-BE49-F238E27FC236}">
                  <a16:creationId xmlns:a16="http://schemas.microsoft.com/office/drawing/2014/main" id="{8B16F312-E1EA-75D9-C1BA-F0D300316C19}"/>
                </a:ext>
              </a:extLst>
            </p:cNvPr>
            <p:cNvSpPr txBox="1">
              <a:spLocks/>
            </p:cNvSpPr>
            <p:nvPr>
              <p:custDataLst>
                <p:tags r:id="rId8"/>
              </p:custDataLst>
            </p:nvPr>
          </p:nvSpPr>
          <p:spPr>
            <a:xfrm>
              <a:off x="6532033" y="1829639"/>
              <a:ext cx="1035540" cy="153756"/>
            </a:xfrm>
            <a:prstGeom prst="rect">
              <a:avLst/>
            </a:prstGeom>
            <a:noFill/>
            <a:extLst>
              <a:ext uri="{909E8E84-426E-40DD-AFC4-6F175D3DCCD1}">
                <a14:hiddenFill xmlns:a14="http://schemas.microsoft.com/office/drawing/2010/main">
                  <a:solidFill>
                    <a:srgbClr val="001A54"/>
                  </a:solidFill>
                </a14:hiddenFill>
              </a:ext>
            </a:extLst>
          </p:spPr>
          <p:txBody>
            <a:bodyPr vert="horz" wrap="none" lIns="0" tIns="0" rIns="0" bIns="36000" rtlCol="0">
              <a:spAutoFit/>
            </a:bodyPr>
            <a:lstStyle>
              <a:lvl1pPr marL="0" indent="0" algn="l" defTabSz="863995" rtl="0" eaLnBrk="1" latinLnBrk="0" hangingPunct="1">
                <a:lnSpc>
                  <a:spcPct val="120000"/>
                </a:lnSpc>
                <a:spcBef>
                  <a:spcPts val="1600"/>
                </a:spcBef>
                <a:spcAft>
                  <a:spcPts val="0"/>
                </a:spcAft>
                <a:buClr>
                  <a:schemeClr val="tx1"/>
                </a:buClr>
                <a:buFontTx/>
                <a:buNone/>
                <a:defRPr sz="1600" b="1" i="0" kern="1200">
                  <a:solidFill>
                    <a:srgbClr val="001A54"/>
                  </a:solidFill>
                  <a:latin typeface="+mn-lt"/>
                  <a:ea typeface="Aktiv Grotesk" panose="020B0504020202020204" pitchFamily="34" charset="0"/>
                  <a:cs typeface="Arial" panose="020B0604020202020204" pitchFamily="34" charset="0"/>
                </a:defRPr>
              </a:lvl1pPr>
              <a:lvl2pPr marL="0" indent="0" algn="l" defTabSz="863995" rtl="0" eaLnBrk="1" latinLnBrk="0" hangingPunct="1">
                <a:lnSpc>
                  <a:spcPct val="120000"/>
                </a:lnSpc>
                <a:spcBef>
                  <a:spcPts val="800"/>
                </a:spcBef>
                <a:spcAft>
                  <a:spcPts val="0"/>
                </a:spcAft>
                <a:buClr>
                  <a:schemeClr val="tx1"/>
                </a:buClr>
                <a:buFontTx/>
                <a:buNone/>
                <a:defRPr sz="1600" b="0" i="0" kern="1200">
                  <a:solidFill>
                    <a:srgbClr val="001A54"/>
                  </a:solidFill>
                  <a:latin typeface="+mn-lt"/>
                  <a:ea typeface="Aktiv Grotesk" panose="020B0504020202020204" pitchFamily="34" charset="0"/>
                  <a:cs typeface="Arial" panose="020B0604020202020204" pitchFamily="34" charset="0"/>
                </a:defRPr>
              </a:lvl2pPr>
              <a:lvl3pPr marL="180000" indent="-179388" algn="l" defTabSz="863995" rtl="0" eaLnBrk="1" latinLnBrk="0" hangingPunct="1">
                <a:lnSpc>
                  <a:spcPct val="120000"/>
                </a:lnSpc>
                <a:spcBef>
                  <a:spcPts val="800"/>
                </a:spcBef>
                <a:spcAft>
                  <a:spcPts val="0"/>
                </a:spcAft>
                <a:buClrTx/>
                <a:buFont typeface="Arial" panose="020B0604020202020204" pitchFamily="34" charset="0"/>
                <a:buChar char="•"/>
                <a:defRPr sz="1600" b="0" i="0" kern="1200">
                  <a:solidFill>
                    <a:srgbClr val="001A54"/>
                  </a:solidFill>
                  <a:latin typeface="+mn-lt"/>
                  <a:ea typeface="Aktiv Grotesk" panose="020B0504020202020204" pitchFamily="34" charset="0"/>
                  <a:cs typeface="Arial" panose="020B0604020202020204" pitchFamily="34" charset="0"/>
                </a:defRPr>
              </a:lvl3pPr>
              <a:lvl4pPr marL="360000" indent="-180000" algn="l" defTabSz="863995" rtl="0" eaLnBrk="1" latinLnBrk="0" hangingPunct="1">
                <a:lnSpc>
                  <a:spcPct val="120000"/>
                </a:lnSpc>
                <a:spcBef>
                  <a:spcPts val="800"/>
                </a:spcBef>
                <a:spcAft>
                  <a:spcPts val="0"/>
                </a:spcAft>
                <a:buClrTx/>
                <a:buFont typeface="Arial" panose="020B0604020202020204" pitchFamily="34" charset="0"/>
                <a:buChar char="•"/>
                <a:defRPr sz="1600" b="0" i="0" kern="1200">
                  <a:solidFill>
                    <a:srgbClr val="001A54"/>
                  </a:solidFill>
                  <a:latin typeface="+mn-lt"/>
                  <a:ea typeface="Aktiv Grotesk" panose="020B0504020202020204" pitchFamily="34" charset="0"/>
                  <a:cs typeface="Arial" panose="020B0604020202020204" pitchFamily="34" charset="0"/>
                </a:defRPr>
              </a:lvl4pPr>
              <a:lvl5pPr marL="540000" indent="-180000" algn="l" defTabSz="863995" rtl="0" eaLnBrk="1" latinLnBrk="0" hangingPunct="1">
                <a:lnSpc>
                  <a:spcPct val="120000"/>
                </a:lnSpc>
                <a:spcBef>
                  <a:spcPts val="800"/>
                </a:spcBef>
                <a:spcAft>
                  <a:spcPts val="0"/>
                </a:spcAft>
                <a:buClrTx/>
                <a:buFont typeface="Arial" panose="020B0604020202020204" pitchFamily="34" charset="0"/>
                <a:buChar char="•"/>
                <a:defRPr sz="1600" b="0" i="0" kern="1200">
                  <a:solidFill>
                    <a:srgbClr val="001A54"/>
                  </a:solidFill>
                  <a:latin typeface="+mn-lt"/>
                  <a:ea typeface="Aktiv Grotesk" panose="020B0504020202020204" pitchFamily="34" charset="0"/>
                  <a:cs typeface="Arial" panose="020B0604020202020204" pitchFamily="34" charset="0"/>
                </a:defRPr>
              </a:lvl5pPr>
              <a:lvl6pPr marL="2375986" indent="-215998" algn="l" defTabSz="86399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6pPr>
              <a:lvl7pPr marL="2807984" indent="-215998" algn="l" defTabSz="86399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7pPr>
              <a:lvl8pPr marL="3239981" indent="-215998" algn="l" defTabSz="86399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8pPr>
              <a:lvl9pPr marL="3671979" indent="-215998" algn="l" defTabSz="86399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9pPr>
            </a:lstStyle>
            <a:p>
              <a:pPr marL="0" marR="0" lvl="0" indent="0" algn="l" defTabSz="863995" rtl="0" eaLnBrk="1" fontAlgn="auto" latinLnBrk="0" hangingPunct="1">
                <a:lnSpc>
                  <a:spcPct val="120000"/>
                </a:lnSpc>
                <a:spcBef>
                  <a:spcPts val="800"/>
                </a:spcBef>
                <a:spcAft>
                  <a:spcPts val="0"/>
                </a:spcAft>
                <a:buClr>
                  <a:srgbClr val="001A54"/>
                </a:buClr>
                <a:buSzTx/>
                <a:buFontTx/>
                <a:buNone/>
                <a:tabLst/>
                <a:defRPr/>
              </a:pPr>
              <a:r>
                <a:rPr kumimoji="0" lang="en" sz="700" b="0" i="0" u="none" strike="noStrike" kern="1200" cap="none" spc="0" normalizeH="0" baseline="0" noProof="0">
                  <a:ln>
                    <a:noFill/>
                  </a:ln>
                  <a:solidFill>
                    <a:srgbClr val="FFFFFF"/>
                  </a:solidFill>
                  <a:effectLst/>
                  <a:uLnTx/>
                  <a:uFillTx/>
                  <a:latin typeface="Arial" panose="020B0604020202020204"/>
                  <a:cs typeface="Arial" panose="020B0604020202020204" pitchFamily="34" charset="0"/>
                </a:rPr>
                <a:t>all vehicles produced 7/24</a:t>
              </a:r>
            </a:p>
          </p:txBody>
        </p:sp>
        <p:cxnSp>
          <p:nvCxnSpPr>
            <p:cNvPr id="21" name="Gerader Verbinder 20">
              <a:extLst>
                <a:ext uri="{FF2B5EF4-FFF2-40B4-BE49-F238E27FC236}">
                  <a16:creationId xmlns:a16="http://schemas.microsoft.com/office/drawing/2014/main" id="{43DED02E-8AEB-8818-8DDD-6363485F1C4F}"/>
                </a:ext>
              </a:extLst>
            </p:cNvPr>
            <p:cNvCxnSpPr>
              <a:cxnSpLocks/>
            </p:cNvCxnSpPr>
            <p:nvPr/>
          </p:nvCxnSpPr>
          <p:spPr>
            <a:xfrm>
              <a:off x="6140601" y="2324689"/>
              <a:ext cx="3004019" cy="0"/>
            </a:xfrm>
            <a:prstGeom prst="line">
              <a:avLst/>
            </a:prstGeom>
            <a:ln w="19050" cmpd="sng">
              <a:solidFill>
                <a:srgbClr val="001A54"/>
              </a:solidFill>
              <a:prstDash val="solid"/>
              <a:headEnd type="oval" w="med" len="med"/>
              <a:tailEnd type="none" w="med" len="med"/>
            </a:ln>
          </p:spPr>
          <p:style>
            <a:lnRef idx="1">
              <a:schemeClr val="accent1"/>
            </a:lnRef>
            <a:fillRef idx="0">
              <a:schemeClr val="accent1"/>
            </a:fillRef>
            <a:effectRef idx="0">
              <a:schemeClr val="accent1"/>
            </a:effectRef>
            <a:fontRef idx="minor">
              <a:schemeClr val="tx1"/>
            </a:fontRef>
          </p:style>
        </p:cxnSp>
        <p:sp>
          <p:nvSpPr>
            <p:cNvPr id="22" name="Textbox">
              <a:extLst>
                <a:ext uri="{FF2B5EF4-FFF2-40B4-BE49-F238E27FC236}">
                  <a16:creationId xmlns:a16="http://schemas.microsoft.com/office/drawing/2014/main" id="{0EE67BAF-3558-14C0-A0A5-44773457CAE4}"/>
                </a:ext>
              </a:extLst>
            </p:cNvPr>
            <p:cNvSpPr txBox="1">
              <a:spLocks/>
            </p:cNvSpPr>
            <p:nvPr>
              <p:custDataLst>
                <p:tags r:id="rId9"/>
              </p:custDataLst>
            </p:nvPr>
          </p:nvSpPr>
          <p:spPr>
            <a:xfrm>
              <a:off x="6134711" y="2186682"/>
              <a:ext cx="545021" cy="153756"/>
            </a:xfrm>
            <a:prstGeom prst="rect">
              <a:avLst/>
            </a:prstGeom>
            <a:noFill/>
            <a:extLst>
              <a:ext uri="{909E8E84-426E-40DD-AFC4-6F175D3DCCD1}">
                <a14:hiddenFill xmlns:a14="http://schemas.microsoft.com/office/drawing/2010/main">
                  <a:solidFill>
                    <a:srgbClr val="001A54"/>
                  </a:solidFill>
                </a14:hiddenFill>
              </a:ext>
            </a:extLst>
          </p:spPr>
          <p:txBody>
            <a:bodyPr vert="horz" wrap="none" lIns="0" tIns="0" rIns="0" bIns="36000" rtlCol="0">
              <a:spAutoFit/>
            </a:bodyPr>
            <a:lstStyle>
              <a:lvl1pPr marL="0" indent="0" algn="l" defTabSz="863995" rtl="0" eaLnBrk="1" latinLnBrk="0" hangingPunct="1">
                <a:lnSpc>
                  <a:spcPct val="120000"/>
                </a:lnSpc>
                <a:spcBef>
                  <a:spcPts val="1600"/>
                </a:spcBef>
                <a:spcAft>
                  <a:spcPts val="0"/>
                </a:spcAft>
                <a:buClr>
                  <a:schemeClr val="tx1"/>
                </a:buClr>
                <a:buFontTx/>
                <a:buNone/>
                <a:defRPr sz="1600" b="1" i="0" kern="1200">
                  <a:solidFill>
                    <a:srgbClr val="001A54"/>
                  </a:solidFill>
                  <a:latin typeface="+mn-lt"/>
                  <a:ea typeface="Aktiv Grotesk" panose="020B0504020202020204" pitchFamily="34" charset="0"/>
                  <a:cs typeface="Arial" panose="020B0604020202020204" pitchFamily="34" charset="0"/>
                </a:defRPr>
              </a:lvl1pPr>
              <a:lvl2pPr marL="0" indent="0" algn="l" defTabSz="863995" rtl="0" eaLnBrk="1" latinLnBrk="0" hangingPunct="1">
                <a:lnSpc>
                  <a:spcPct val="120000"/>
                </a:lnSpc>
                <a:spcBef>
                  <a:spcPts val="800"/>
                </a:spcBef>
                <a:spcAft>
                  <a:spcPts val="0"/>
                </a:spcAft>
                <a:buClr>
                  <a:schemeClr val="tx1"/>
                </a:buClr>
                <a:buFontTx/>
                <a:buNone/>
                <a:defRPr sz="1600" b="0" i="0" kern="1200">
                  <a:solidFill>
                    <a:srgbClr val="001A54"/>
                  </a:solidFill>
                  <a:latin typeface="+mn-lt"/>
                  <a:ea typeface="Aktiv Grotesk" panose="020B0504020202020204" pitchFamily="34" charset="0"/>
                  <a:cs typeface="Arial" panose="020B0604020202020204" pitchFamily="34" charset="0"/>
                </a:defRPr>
              </a:lvl2pPr>
              <a:lvl3pPr marL="180000" indent="-179388" algn="l" defTabSz="863995" rtl="0" eaLnBrk="1" latinLnBrk="0" hangingPunct="1">
                <a:lnSpc>
                  <a:spcPct val="120000"/>
                </a:lnSpc>
                <a:spcBef>
                  <a:spcPts val="800"/>
                </a:spcBef>
                <a:spcAft>
                  <a:spcPts val="0"/>
                </a:spcAft>
                <a:buClrTx/>
                <a:buFont typeface="Arial" panose="020B0604020202020204" pitchFamily="34" charset="0"/>
                <a:buChar char="•"/>
                <a:defRPr sz="1600" b="0" i="0" kern="1200">
                  <a:solidFill>
                    <a:srgbClr val="001A54"/>
                  </a:solidFill>
                  <a:latin typeface="+mn-lt"/>
                  <a:ea typeface="Aktiv Grotesk" panose="020B0504020202020204" pitchFamily="34" charset="0"/>
                  <a:cs typeface="Arial" panose="020B0604020202020204" pitchFamily="34" charset="0"/>
                </a:defRPr>
              </a:lvl3pPr>
              <a:lvl4pPr marL="360000" indent="-180000" algn="l" defTabSz="863995" rtl="0" eaLnBrk="1" latinLnBrk="0" hangingPunct="1">
                <a:lnSpc>
                  <a:spcPct val="120000"/>
                </a:lnSpc>
                <a:spcBef>
                  <a:spcPts val="800"/>
                </a:spcBef>
                <a:spcAft>
                  <a:spcPts val="0"/>
                </a:spcAft>
                <a:buClrTx/>
                <a:buFont typeface="Arial" panose="020B0604020202020204" pitchFamily="34" charset="0"/>
                <a:buChar char="•"/>
                <a:defRPr sz="1600" b="0" i="0" kern="1200">
                  <a:solidFill>
                    <a:srgbClr val="001A54"/>
                  </a:solidFill>
                  <a:latin typeface="+mn-lt"/>
                  <a:ea typeface="Aktiv Grotesk" panose="020B0504020202020204" pitchFamily="34" charset="0"/>
                  <a:cs typeface="Arial" panose="020B0604020202020204" pitchFamily="34" charset="0"/>
                </a:defRPr>
              </a:lvl4pPr>
              <a:lvl5pPr marL="540000" indent="-180000" algn="l" defTabSz="863995" rtl="0" eaLnBrk="1" latinLnBrk="0" hangingPunct="1">
                <a:lnSpc>
                  <a:spcPct val="120000"/>
                </a:lnSpc>
                <a:spcBef>
                  <a:spcPts val="800"/>
                </a:spcBef>
                <a:spcAft>
                  <a:spcPts val="0"/>
                </a:spcAft>
                <a:buClrTx/>
                <a:buFont typeface="Arial" panose="020B0604020202020204" pitchFamily="34" charset="0"/>
                <a:buChar char="•"/>
                <a:defRPr sz="1600" b="0" i="0" kern="1200">
                  <a:solidFill>
                    <a:srgbClr val="001A54"/>
                  </a:solidFill>
                  <a:latin typeface="+mn-lt"/>
                  <a:ea typeface="Aktiv Grotesk" panose="020B0504020202020204" pitchFamily="34" charset="0"/>
                  <a:cs typeface="Arial" panose="020B0604020202020204" pitchFamily="34" charset="0"/>
                </a:defRPr>
              </a:lvl5pPr>
              <a:lvl6pPr marL="2375986" indent="-215998" algn="l" defTabSz="86399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6pPr>
              <a:lvl7pPr marL="2807984" indent="-215998" algn="l" defTabSz="86399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7pPr>
              <a:lvl8pPr marL="3239981" indent="-215998" algn="l" defTabSz="86399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8pPr>
              <a:lvl9pPr marL="3671979" indent="-215998" algn="l" defTabSz="86399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9pPr>
            </a:lstStyle>
            <a:p>
              <a:pPr marL="0" marR="0" lvl="0" indent="0" algn="l" defTabSz="863995" rtl="0" eaLnBrk="1" fontAlgn="auto" latinLnBrk="0" hangingPunct="1">
                <a:lnSpc>
                  <a:spcPct val="120000"/>
                </a:lnSpc>
                <a:spcBef>
                  <a:spcPts val="800"/>
                </a:spcBef>
                <a:spcAft>
                  <a:spcPts val="0"/>
                </a:spcAft>
                <a:buClr>
                  <a:srgbClr val="001A54"/>
                </a:buClr>
                <a:buSzTx/>
                <a:buFontTx/>
                <a:buNone/>
                <a:tabLst/>
                <a:defRPr/>
              </a:pPr>
              <a:r>
                <a:rPr kumimoji="0" lang="en" sz="700" b="0" i="0" u="none" strike="noStrike" kern="1200" cap="none" spc="0" normalizeH="0" baseline="0" noProof="0" dirty="0">
                  <a:ln>
                    <a:noFill/>
                  </a:ln>
                  <a:solidFill>
                    <a:schemeClr val="tx1"/>
                  </a:solidFill>
                  <a:effectLst/>
                  <a:uLnTx/>
                  <a:uFillTx/>
                  <a:latin typeface="Arial" panose="020B0604020202020204"/>
                  <a:cs typeface="Arial" panose="020B0604020202020204" pitchFamily="34" charset="0"/>
                </a:rPr>
                <a:t>in force 01/24</a:t>
              </a:r>
            </a:p>
          </p:txBody>
        </p:sp>
        <p:sp>
          <p:nvSpPr>
            <p:cNvPr id="25" name="Textbox">
              <a:extLst>
                <a:ext uri="{FF2B5EF4-FFF2-40B4-BE49-F238E27FC236}">
                  <a16:creationId xmlns:a16="http://schemas.microsoft.com/office/drawing/2014/main" id="{01109761-0C88-B468-DB1B-08BC48D07B31}"/>
                </a:ext>
              </a:extLst>
            </p:cNvPr>
            <p:cNvSpPr txBox="1">
              <a:spLocks/>
            </p:cNvSpPr>
            <p:nvPr>
              <p:custDataLst>
                <p:tags r:id="rId10"/>
              </p:custDataLst>
            </p:nvPr>
          </p:nvSpPr>
          <p:spPr>
            <a:xfrm>
              <a:off x="9171248" y="2180249"/>
              <a:ext cx="750205" cy="153756"/>
            </a:xfrm>
            <a:prstGeom prst="rect">
              <a:avLst/>
            </a:prstGeom>
            <a:noFill/>
            <a:extLst>
              <a:ext uri="{909E8E84-426E-40DD-AFC4-6F175D3DCCD1}">
                <a14:hiddenFill xmlns:a14="http://schemas.microsoft.com/office/drawing/2010/main">
                  <a:solidFill>
                    <a:srgbClr val="001A54"/>
                  </a:solidFill>
                </a14:hiddenFill>
              </a:ext>
            </a:extLst>
          </p:spPr>
          <p:txBody>
            <a:bodyPr vert="horz" wrap="none" lIns="0" tIns="0" rIns="0" bIns="36000" rtlCol="0">
              <a:spAutoFit/>
            </a:bodyPr>
            <a:lstStyle>
              <a:lvl1pPr marL="0" indent="0" algn="l" defTabSz="863995" rtl="0" eaLnBrk="1" latinLnBrk="0" hangingPunct="1">
                <a:lnSpc>
                  <a:spcPct val="120000"/>
                </a:lnSpc>
                <a:spcBef>
                  <a:spcPts val="1600"/>
                </a:spcBef>
                <a:spcAft>
                  <a:spcPts val="0"/>
                </a:spcAft>
                <a:buClr>
                  <a:schemeClr val="tx1"/>
                </a:buClr>
                <a:buFontTx/>
                <a:buNone/>
                <a:defRPr sz="1600" b="1" i="0" kern="1200">
                  <a:solidFill>
                    <a:srgbClr val="001A54"/>
                  </a:solidFill>
                  <a:latin typeface="+mn-lt"/>
                  <a:ea typeface="Aktiv Grotesk" panose="020B0504020202020204" pitchFamily="34" charset="0"/>
                  <a:cs typeface="Arial" panose="020B0604020202020204" pitchFamily="34" charset="0"/>
                </a:defRPr>
              </a:lvl1pPr>
              <a:lvl2pPr marL="0" indent="0" algn="l" defTabSz="863995" rtl="0" eaLnBrk="1" latinLnBrk="0" hangingPunct="1">
                <a:lnSpc>
                  <a:spcPct val="120000"/>
                </a:lnSpc>
                <a:spcBef>
                  <a:spcPts val="800"/>
                </a:spcBef>
                <a:spcAft>
                  <a:spcPts val="0"/>
                </a:spcAft>
                <a:buClr>
                  <a:schemeClr val="tx1"/>
                </a:buClr>
                <a:buFontTx/>
                <a:buNone/>
                <a:defRPr sz="1600" b="0" i="0" kern="1200">
                  <a:solidFill>
                    <a:srgbClr val="001A54"/>
                  </a:solidFill>
                  <a:latin typeface="+mn-lt"/>
                  <a:ea typeface="Aktiv Grotesk" panose="020B0504020202020204" pitchFamily="34" charset="0"/>
                  <a:cs typeface="Arial" panose="020B0604020202020204" pitchFamily="34" charset="0"/>
                </a:defRPr>
              </a:lvl2pPr>
              <a:lvl3pPr marL="180000" indent="-179388" algn="l" defTabSz="863995" rtl="0" eaLnBrk="1" latinLnBrk="0" hangingPunct="1">
                <a:lnSpc>
                  <a:spcPct val="120000"/>
                </a:lnSpc>
                <a:spcBef>
                  <a:spcPts val="800"/>
                </a:spcBef>
                <a:spcAft>
                  <a:spcPts val="0"/>
                </a:spcAft>
                <a:buClrTx/>
                <a:buFont typeface="Arial" panose="020B0604020202020204" pitchFamily="34" charset="0"/>
                <a:buChar char="•"/>
                <a:defRPr sz="1600" b="0" i="0" kern="1200">
                  <a:solidFill>
                    <a:srgbClr val="001A54"/>
                  </a:solidFill>
                  <a:latin typeface="+mn-lt"/>
                  <a:ea typeface="Aktiv Grotesk" panose="020B0504020202020204" pitchFamily="34" charset="0"/>
                  <a:cs typeface="Arial" panose="020B0604020202020204" pitchFamily="34" charset="0"/>
                </a:defRPr>
              </a:lvl3pPr>
              <a:lvl4pPr marL="360000" indent="-180000" algn="l" defTabSz="863995" rtl="0" eaLnBrk="1" latinLnBrk="0" hangingPunct="1">
                <a:lnSpc>
                  <a:spcPct val="120000"/>
                </a:lnSpc>
                <a:spcBef>
                  <a:spcPts val="800"/>
                </a:spcBef>
                <a:spcAft>
                  <a:spcPts val="0"/>
                </a:spcAft>
                <a:buClrTx/>
                <a:buFont typeface="Arial" panose="020B0604020202020204" pitchFamily="34" charset="0"/>
                <a:buChar char="•"/>
                <a:defRPr sz="1600" b="0" i="0" kern="1200">
                  <a:solidFill>
                    <a:srgbClr val="001A54"/>
                  </a:solidFill>
                  <a:latin typeface="+mn-lt"/>
                  <a:ea typeface="Aktiv Grotesk" panose="020B0504020202020204" pitchFamily="34" charset="0"/>
                  <a:cs typeface="Arial" panose="020B0604020202020204" pitchFamily="34" charset="0"/>
                </a:defRPr>
              </a:lvl4pPr>
              <a:lvl5pPr marL="540000" indent="-180000" algn="l" defTabSz="863995" rtl="0" eaLnBrk="1" latinLnBrk="0" hangingPunct="1">
                <a:lnSpc>
                  <a:spcPct val="120000"/>
                </a:lnSpc>
                <a:spcBef>
                  <a:spcPts val="800"/>
                </a:spcBef>
                <a:spcAft>
                  <a:spcPts val="0"/>
                </a:spcAft>
                <a:buClrTx/>
                <a:buFont typeface="Arial" panose="020B0604020202020204" pitchFamily="34" charset="0"/>
                <a:buChar char="•"/>
                <a:defRPr sz="1600" b="0" i="0" kern="1200">
                  <a:solidFill>
                    <a:srgbClr val="001A54"/>
                  </a:solidFill>
                  <a:latin typeface="+mn-lt"/>
                  <a:ea typeface="Aktiv Grotesk" panose="020B0504020202020204" pitchFamily="34" charset="0"/>
                  <a:cs typeface="Arial" panose="020B0604020202020204" pitchFamily="34" charset="0"/>
                </a:defRPr>
              </a:lvl5pPr>
              <a:lvl6pPr marL="2375986" indent="-215998" algn="l" defTabSz="86399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6pPr>
              <a:lvl7pPr marL="2807984" indent="-215998" algn="l" defTabSz="86399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7pPr>
              <a:lvl8pPr marL="3239981" indent="-215998" algn="l" defTabSz="86399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8pPr>
              <a:lvl9pPr marL="3671979" indent="-215998" algn="l" defTabSz="86399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9pPr>
            </a:lstStyle>
            <a:p>
              <a:pPr marL="0" marR="0" lvl="0" indent="0" algn="l" defTabSz="863995" rtl="0" eaLnBrk="1" fontAlgn="auto" latinLnBrk="0" hangingPunct="1">
                <a:lnSpc>
                  <a:spcPct val="120000"/>
                </a:lnSpc>
                <a:spcBef>
                  <a:spcPts val="800"/>
                </a:spcBef>
                <a:spcAft>
                  <a:spcPts val="0"/>
                </a:spcAft>
                <a:buClr>
                  <a:srgbClr val="001A54"/>
                </a:buClr>
                <a:buSzTx/>
                <a:buFontTx/>
                <a:buNone/>
                <a:tabLst/>
                <a:defRPr/>
              </a:pPr>
              <a:r>
                <a:rPr kumimoji="0" lang="en" sz="700" b="0" i="0" u="none" strike="noStrike" kern="1200" cap="none" spc="0" normalizeH="0" baseline="0" noProof="0" dirty="0">
                  <a:ln>
                    <a:noFill/>
                  </a:ln>
                  <a:solidFill>
                    <a:schemeClr val="tx1"/>
                  </a:solidFill>
                  <a:effectLst/>
                  <a:uLnTx/>
                  <a:uFillTx/>
                  <a:latin typeface="Arial" panose="020B0604020202020204"/>
                  <a:cs typeface="Arial" panose="020B0604020202020204" pitchFamily="34" charset="0"/>
                </a:rPr>
                <a:t>applicable 09/2025</a:t>
              </a:r>
            </a:p>
          </p:txBody>
        </p:sp>
        <p:cxnSp>
          <p:nvCxnSpPr>
            <p:cNvPr id="26" name="Gerader Verbinder 25">
              <a:extLst>
                <a:ext uri="{FF2B5EF4-FFF2-40B4-BE49-F238E27FC236}">
                  <a16:creationId xmlns:a16="http://schemas.microsoft.com/office/drawing/2014/main" id="{2085EF1E-8E7A-15C1-9CAB-D54291EF2643}"/>
                </a:ext>
              </a:extLst>
            </p:cNvPr>
            <p:cNvCxnSpPr>
              <a:cxnSpLocks/>
            </p:cNvCxnSpPr>
            <p:nvPr/>
          </p:nvCxnSpPr>
          <p:spPr>
            <a:xfrm>
              <a:off x="9144620" y="2324689"/>
              <a:ext cx="1822313" cy="0"/>
            </a:xfrm>
            <a:prstGeom prst="line">
              <a:avLst/>
            </a:prstGeom>
            <a:ln w="19050" cmpd="sng">
              <a:solidFill>
                <a:srgbClr val="001A54"/>
              </a:solidFill>
              <a:prstDash val="solid"/>
              <a:headEnd type="oval"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8" name="Gerader Verbinder 27">
              <a:extLst>
                <a:ext uri="{FF2B5EF4-FFF2-40B4-BE49-F238E27FC236}">
                  <a16:creationId xmlns:a16="http://schemas.microsoft.com/office/drawing/2014/main" id="{636C92DD-D835-125C-AFA1-9E6AE2C3D078}"/>
                </a:ext>
              </a:extLst>
            </p:cNvPr>
            <p:cNvCxnSpPr>
              <a:cxnSpLocks/>
            </p:cNvCxnSpPr>
            <p:nvPr/>
          </p:nvCxnSpPr>
          <p:spPr>
            <a:xfrm>
              <a:off x="5637912" y="2694045"/>
              <a:ext cx="2952000" cy="0"/>
            </a:xfrm>
            <a:prstGeom prst="line">
              <a:avLst/>
            </a:prstGeom>
            <a:ln w="19050" cmpd="sng">
              <a:solidFill>
                <a:srgbClr val="001A54"/>
              </a:solidFill>
              <a:prstDash val="solid"/>
              <a:headEnd type="oval" w="med" len="med"/>
              <a:tailEnd type="none" w="med" len="med"/>
            </a:ln>
          </p:spPr>
          <p:style>
            <a:lnRef idx="1">
              <a:schemeClr val="accent1"/>
            </a:lnRef>
            <a:fillRef idx="0">
              <a:schemeClr val="accent1"/>
            </a:fillRef>
            <a:effectRef idx="0">
              <a:schemeClr val="accent1"/>
            </a:effectRef>
            <a:fontRef idx="minor">
              <a:schemeClr val="tx1"/>
            </a:fontRef>
          </p:style>
        </p:cxnSp>
        <p:sp>
          <p:nvSpPr>
            <p:cNvPr id="29" name="Textbox">
              <a:extLst>
                <a:ext uri="{FF2B5EF4-FFF2-40B4-BE49-F238E27FC236}">
                  <a16:creationId xmlns:a16="http://schemas.microsoft.com/office/drawing/2014/main" id="{6B9FBC7D-8997-F426-6D24-32E051BCF198}"/>
                </a:ext>
              </a:extLst>
            </p:cNvPr>
            <p:cNvSpPr txBox="1">
              <a:spLocks/>
            </p:cNvSpPr>
            <p:nvPr>
              <p:custDataLst>
                <p:tags r:id="rId11"/>
              </p:custDataLst>
            </p:nvPr>
          </p:nvSpPr>
          <p:spPr>
            <a:xfrm>
              <a:off x="5637912" y="2540289"/>
              <a:ext cx="780663" cy="153756"/>
            </a:xfrm>
            <a:prstGeom prst="rect">
              <a:avLst/>
            </a:prstGeom>
            <a:noFill/>
            <a:extLst>
              <a:ext uri="{909E8E84-426E-40DD-AFC4-6F175D3DCCD1}">
                <a14:hiddenFill xmlns:a14="http://schemas.microsoft.com/office/drawing/2010/main">
                  <a:solidFill>
                    <a:srgbClr val="001A54"/>
                  </a:solidFill>
                </a14:hiddenFill>
              </a:ext>
            </a:extLst>
          </p:spPr>
          <p:txBody>
            <a:bodyPr vert="horz" wrap="none" lIns="0" tIns="0" rIns="0" bIns="36000" rtlCol="0">
              <a:spAutoFit/>
            </a:bodyPr>
            <a:lstStyle>
              <a:lvl1pPr marL="0" indent="0" algn="l" defTabSz="863995" rtl="0" eaLnBrk="1" latinLnBrk="0" hangingPunct="1">
                <a:lnSpc>
                  <a:spcPct val="120000"/>
                </a:lnSpc>
                <a:spcBef>
                  <a:spcPts val="1600"/>
                </a:spcBef>
                <a:spcAft>
                  <a:spcPts val="0"/>
                </a:spcAft>
                <a:buClr>
                  <a:schemeClr val="tx1"/>
                </a:buClr>
                <a:buFontTx/>
                <a:buNone/>
                <a:defRPr sz="1600" b="1" i="0" kern="1200">
                  <a:solidFill>
                    <a:srgbClr val="001A54"/>
                  </a:solidFill>
                  <a:latin typeface="+mn-lt"/>
                  <a:ea typeface="Aktiv Grotesk" panose="020B0504020202020204" pitchFamily="34" charset="0"/>
                  <a:cs typeface="Arial" panose="020B0604020202020204" pitchFamily="34" charset="0"/>
                </a:defRPr>
              </a:lvl1pPr>
              <a:lvl2pPr marL="0" indent="0" algn="l" defTabSz="863995" rtl="0" eaLnBrk="1" latinLnBrk="0" hangingPunct="1">
                <a:lnSpc>
                  <a:spcPct val="120000"/>
                </a:lnSpc>
                <a:spcBef>
                  <a:spcPts val="800"/>
                </a:spcBef>
                <a:spcAft>
                  <a:spcPts val="0"/>
                </a:spcAft>
                <a:buClr>
                  <a:schemeClr val="tx1"/>
                </a:buClr>
                <a:buFontTx/>
                <a:buNone/>
                <a:defRPr sz="1600" b="0" i="0" kern="1200">
                  <a:solidFill>
                    <a:srgbClr val="001A54"/>
                  </a:solidFill>
                  <a:latin typeface="+mn-lt"/>
                  <a:ea typeface="Aktiv Grotesk" panose="020B0504020202020204" pitchFamily="34" charset="0"/>
                  <a:cs typeface="Arial" panose="020B0604020202020204" pitchFamily="34" charset="0"/>
                </a:defRPr>
              </a:lvl2pPr>
              <a:lvl3pPr marL="180000" indent="-179388" algn="l" defTabSz="863995" rtl="0" eaLnBrk="1" latinLnBrk="0" hangingPunct="1">
                <a:lnSpc>
                  <a:spcPct val="120000"/>
                </a:lnSpc>
                <a:spcBef>
                  <a:spcPts val="800"/>
                </a:spcBef>
                <a:spcAft>
                  <a:spcPts val="0"/>
                </a:spcAft>
                <a:buClrTx/>
                <a:buFont typeface="Arial" panose="020B0604020202020204" pitchFamily="34" charset="0"/>
                <a:buChar char="•"/>
                <a:defRPr sz="1600" b="0" i="0" kern="1200">
                  <a:solidFill>
                    <a:srgbClr val="001A54"/>
                  </a:solidFill>
                  <a:latin typeface="+mn-lt"/>
                  <a:ea typeface="Aktiv Grotesk" panose="020B0504020202020204" pitchFamily="34" charset="0"/>
                  <a:cs typeface="Arial" panose="020B0604020202020204" pitchFamily="34" charset="0"/>
                </a:defRPr>
              </a:lvl3pPr>
              <a:lvl4pPr marL="360000" indent="-180000" algn="l" defTabSz="863995" rtl="0" eaLnBrk="1" latinLnBrk="0" hangingPunct="1">
                <a:lnSpc>
                  <a:spcPct val="120000"/>
                </a:lnSpc>
                <a:spcBef>
                  <a:spcPts val="800"/>
                </a:spcBef>
                <a:spcAft>
                  <a:spcPts val="0"/>
                </a:spcAft>
                <a:buClrTx/>
                <a:buFont typeface="Arial" panose="020B0604020202020204" pitchFamily="34" charset="0"/>
                <a:buChar char="•"/>
                <a:defRPr sz="1600" b="0" i="0" kern="1200">
                  <a:solidFill>
                    <a:srgbClr val="001A54"/>
                  </a:solidFill>
                  <a:latin typeface="+mn-lt"/>
                  <a:ea typeface="Aktiv Grotesk" panose="020B0504020202020204" pitchFamily="34" charset="0"/>
                  <a:cs typeface="Arial" panose="020B0604020202020204" pitchFamily="34" charset="0"/>
                </a:defRPr>
              </a:lvl4pPr>
              <a:lvl5pPr marL="540000" indent="-180000" algn="l" defTabSz="863995" rtl="0" eaLnBrk="1" latinLnBrk="0" hangingPunct="1">
                <a:lnSpc>
                  <a:spcPct val="120000"/>
                </a:lnSpc>
                <a:spcBef>
                  <a:spcPts val="800"/>
                </a:spcBef>
                <a:spcAft>
                  <a:spcPts val="0"/>
                </a:spcAft>
                <a:buClrTx/>
                <a:buFont typeface="Arial" panose="020B0604020202020204" pitchFamily="34" charset="0"/>
                <a:buChar char="•"/>
                <a:defRPr sz="1600" b="0" i="0" kern="1200">
                  <a:solidFill>
                    <a:srgbClr val="001A54"/>
                  </a:solidFill>
                  <a:latin typeface="+mn-lt"/>
                  <a:ea typeface="Aktiv Grotesk" panose="020B0504020202020204" pitchFamily="34" charset="0"/>
                  <a:cs typeface="Arial" panose="020B0604020202020204" pitchFamily="34" charset="0"/>
                </a:defRPr>
              </a:lvl5pPr>
              <a:lvl6pPr marL="2375986" indent="-215998" algn="l" defTabSz="86399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6pPr>
              <a:lvl7pPr marL="2807984" indent="-215998" algn="l" defTabSz="86399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7pPr>
              <a:lvl8pPr marL="3239981" indent="-215998" algn="l" defTabSz="86399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8pPr>
              <a:lvl9pPr marL="3671979" indent="-215998" algn="l" defTabSz="86399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9pPr>
            </a:lstStyle>
            <a:p>
              <a:pPr marL="0" marR="0" lvl="0" indent="0" algn="l" defTabSz="863995" rtl="0" eaLnBrk="1" fontAlgn="auto" latinLnBrk="0" hangingPunct="1">
                <a:lnSpc>
                  <a:spcPct val="120000"/>
                </a:lnSpc>
                <a:spcBef>
                  <a:spcPts val="800"/>
                </a:spcBef>
                <a:spcAft>
                  <a:spcPts val="0"/>
                </a:spcAft>
                <a:buClr>
                  <a:srgbClr val="001A54"/>
                </a:buClr>
                <a:buSzTx/>
                <a:buFontTx/>
                <a:buNone/>
                <a:tabLst/>
                <a:defRPr/>
              </a:pPr>
              <a:r>
                <a:rPr kumimoji="0" lang="en" sz="700" b="0" i="0" u="none" strike="noStrike" kern="1200" cap="none" spc="0" normalizeH="0" baseline="0" noProof="0">
                  <a:ln>
                    <a:noFill/>
                  </a:ln>
                  <a:solidFill>
                    <a:srgbClr val="001A54"/>
                  </a:solidFill>
                  <a:effectLst/>
                  <a:uLnTx/>
                  <a:uFillTx/>
                  <a:latin typeface="Arial" panose="020B0604020202020204"/>
                  <a:cs typeface="Arial" panose="020B0604020202020204" pitchFamily="34" charset="0"/>
                </a:rPr>
                <a:t>partly effective 6/23</a:t>
              </a:r>
            </a:p>
          </p:txBody>
        </p:sp>
        <p:cxnSp>
          <p:nvCxnSpPr>
            <p:cNvPr id="30" name="Gerader Verbinder 29">
              <a:extLst>
                <a:ext uri="{FF2B5EF4-FFF2-40B4-BE49-F238E27FC236}">
                  <a16:creationId xmlns:a16="http://schemas.microsoft.com/office/drawing/2014/main" id="{1FEFF1F1-1608-416C-F201-3053B3BE6F60}"/>
                </a:ext>
              </a:extLst>
            </p:cNvPr>
            <p:cNvCxnSpPr>
              <a:cxnSpLocks/>
            </p:cNvCxnSpPr>
            <p:nvPr/>
          </p:nvCxnSpPr>
          <p:spPr>
            <a:xfrm>
              <a:off x="8568147" y="2694045"/>
              <a:ext cx="2398786" cy="0"/>
            </a:xfrm>
            <a:prstGeom prst="line">
              <a:avLst/>
            </a:prstGeom>
            <a:ln w="19050" cmpd="sng">
              <a:solidFill>
                <a:srgbClr val="001A54"/>
              </a:solidFill>
              <a:prstDash val="solid"/>
              <a:headEnd type="oval"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1" name="Textbox">
              <a:extLst>
                <a:ext uri="{FF2B5EF4-FFF2-40B4-BE49-F238E27FC236}">
                  <a16:creationId xmlns:a16="http://schemas.microsoft.com/office/drawing/2014/main" id="{67CABBE3-3DEB-CF80-BAC8-3DD8CE9A7D76}"/>
                </a:ext>
              </a:extLst>
            </p:cNvPr>
            <p:cNvSpPr txBox="1">
              <a:spLocks/>
            </p:cNvSpPr>
            <p:nvPr>
              <p:custDataLst>
                <p:tags r:id="rId12"/>
              </p:custDataLst>
            </p:nvPr>
          </p:nvSpPr>
          <p:spPr>
            <a:xfrm>
              <a:off x="8568147" y="2540289"/>
              <a:ext cx="788677" cy="153756"/>
            </a:xfrm>
            <a:prstGeom prst="rect">
              <a:avLst/>
            </a:prstGeom>
            <a:noFill/>
            <a:extLst>
              <a:ext uri="{909E8E84-426E-40DD-AFC4-6F175D3DCCD1}">
                <a14:hiddenFill xmlns:a14="http://schemas.microsoft.com/office/drawing/2010/main">
                  <a:solidFill>
                    <a:srgbClr val="001A54"/>
                  </a:solidFill>
                </a14:hiddenFill>
              </a:ext>
            </a:extLst>
          </p:spPr>
          <p:txBody>
            <a:bodyPr vert="horz" wrap="none" lIns="0" tIns="0" rIns="0" bIns="36000" rtlCol="0">
              <a:spAutoFit/>
            </a:bodyPr>
            <a:lstStyle>
              <a:lvl1pPr marL="0" indent="0" algn="l" defTabSz="863995" rtl="0" eaLnBrk="1" latinLnBrk="0" hangingPunct="1">
                <a:lnSpc>
                  <a:spcPct val="120000"/>
                </a:lnSpc>
                <a:spcBef>
                  <a:spcPts val="1600"/>
                </a:spcBef>
                <a:spcAft>
                  <a:spcPts val="0"/>
                </a:spcAft>
                <a:buClr>
                  <a:schemeClr val="tx1"/>
                </a:buClr>
                <a:buFontTx/>
                <a:buNone/>
                <a:defRPr sz="1600" b="1" i="0" kern="1200">
                  <a:solidFill>
                    <a:srgbClr val="001A54"/>
                  </a:solidFill>
                  <a:latin typeface="+mn-lt"/>
                  <a:ea typeface="Aktiv Grotesk" panose="020B0504020202020204" pitchFamily="34" charset="0"/>
                  <a:cs typeface="Arial" panose="020B0604020202020204" pitchFamily="34" charset="0"/>
                </a:defRPr>
              </a:lvl1pPr>
              <a:lvl2pPr marL="0" indent="0" algn="l" defTabSz="863995" rtl="0" eaLnBrk="1" latinLnBrk="0" hangingPunct="1">
                <a:lnSpc>
                  <a:spcPct val="120000"/>
                </a:lnSpc>
                <a:spcBef>
                  <a:spcPts val="800"/>
                </a:spcBef>
                <a:spcAft>
                  <a:spcPts val="0"/>
                </a:spcAft>
                <a:buClr>
                  <a:schemeClr val="tx1"/>
                </a:buClr>
                <a:buFontTx/>
                <a:buNone/>
                <a:defRPr sz="1600" b="0" i="0" kern="1200">
                  <a:solidFill>
                    <a:srgbClr val="001A54"/>
                  </a:solidFill>
                  <a:latin typeface="+mn-lt"/>
                  <a:ea typeface="Aktiv Grotesk" panose="020B0504020202020204" pitchFamily="34" charset="0"/>
                  <a:cs typeface="Arial" panose="020B0604020202020204" pitchFamily="34" charset="0"/>
                </a:defRPr>
              </a:lvl2pPr>
              <a:lvl3pPr marL="180000" indent="-179388" algn="l" defTabSz="863995" rtl="0" eaLnBrk="1" latinLnBrk="0" hangingPunct="1">
                <a:lnSpc>
                  <a:spcPct val="120000"/>
                </a:lnSpc>
                <a:spcBef>
                  <a:spcPts val="800"/>
                </a:spcBef>
                <a:spcAft>
                  <a:spcPts val="0"/>
                </a:spcAft>
                <a:buClrTx/>
                <a:buFont typeface="Arial" panose="020B0604020202020204" pitchFamily="34" charset="0"/>
                <a:buChar char="•"/>
                <a:defRPr sz="1600" b="0" i="0" kern="1200">
                  <a:solidFill>
                    <a:srgbClr val="001A54"/>
                  </a:solidFill>
                  <a:latin typeface="+mn-lt"/>
                  <a:ea typeface="Aktiv Grotesk" panose="020B0504020202020204" pitchFamily="34" charset="0"/>
                  <a:cs typeface="Arial" panose="020B0604020202020204" pitchFamily="34" charset="0"/>
                </a:defRPr>
              </a:lvl3pPr>
              <a:lvl4pPr marL="360000" indent="-180000" algn="l" defTabSz="863995" rtl="0" eaLnBrk="1" latinLnBrk="0" hangingPunct="1">
                <a:lnSpc>
                  <a:spcPct val="120000"/>
                </a:lnSpc>
                <a:spcBef>
                  <a:spcPts val="800"/>
                </a:spcBef>
                <a:spcAft>
                  <a:spcPts val="0"/>
                </a:spcAft>
                <a:buClrTx/>
                <a:buFont typeface="Arial" panose="020B0604020202020204" pitchFamily="34" charset="0"/>
                <a:buChar char="•"/>
                <a:defRPr sz="1600" b="0" i="0" kern="1200">
                  <a:solidFill>
                    <a:srgbClr val="001A54"/>
                  </a:solidFill>
                  <a:latin typeface="+mn-lt"/>
                  <a:ea typeface="Aktiv Grotesk" panose="020B0504020202020204" pitchFamily="34" charset="0"/>
                  <a:cs typeface="Arial" panose="020B0604020202020204" pitchFamily="34" charset="0"/>
                </a:defRPr>
              </a:lvl4pPr>
              <a:lvl5pPr marL="540000" indent="-180000" algn="l" defTabSz="863995" rtl="0" eaLnBrk="1" latinLnBrk="0" hangingPunct="1">
                <a:lnSpc>
                  <a:spcPct val="120000"/>
                </a:lnSpc>
                <a:spcBef>
                  <a:spcPts val="800"/>
                </a:spcBef>
                <a:spcAft>
                  <a:spcPts val="0"/>
                </a:spcAft>
                <a:buClrTx/>
                <a:buFont typeface="Arial" panose="020B0604020202020204" pitchFamily="34" charset="0"/>
                <a:buChar char="•"/>
                <a:defRPr sz="1600" b="0" i="0" kern="1200">
                  <a:solidFill>
                    <a:srgbClr val="001A54"/>
                  </a:solidFill>
                  <a:latin typeface="+mn-lt"/>
                  <a:ea typeface="Aktiv Grotesk" panose="020B0504020202020204" pitchFamily="34" charset="0"/>
                  <a:cs typeface="Arial" panose="020B0604020202020204" pitchFamily="34" charset="0"/>
                </a:defRPr>
              </a:lvl5pPr>
              <a:lvl6pPr marL="2375986" indent="-215998" algn="l" defTabSz="86399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6pPr>
              <a:lvl7pPr marL="2807984" indent="-215998" algn="l" defTabSz="86399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7pPr>
              <a:lvl8pPr marL="3239981" indent="-215998" algn="l" defTabSz="86399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8pPr>
              <a:lvl9pPr marL="3671979" indent="-215998" algn="l" defTabSz="86399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9pPr>
            </a:lstStyle>
            <a:p>
              <a:pPr marL="0" marR="0" lvl="0" indent="0" algn="l" defTabSz="863995" rtl="0" eaLnBrk="1" fontAlgn="auto" latinLnBrk="0" hangingPunct="1">
                <a:lnSpc>
                  <a:spcPct val="120000"/>
                </a:lnSpc>
                <a:spcBef>
                  <a:spcPts val="800"/>
                </a:spcBef>
                <a:spcAft>
                  <a:spcPts val="0"/>
                </a:spcAft>
                <a:buClr>
                  <a:srgbClr val="001A54"/>
                </a:buClr>
                <a:buSzTx/>
                <a:buFontTx/>
                <a:buNone/>
                <a:tabLst/>
                <a:defRPr/>
              </a:pPr>
              <a:r>
                <a:rPr kumimoji="0" lang="en" sz="700" b="0" i="0" u="none" strike="noStrike" kern="1200" cap="none" spc="0" normalizeH="0" baseline="0" noProof="0">
                  <a:ln>
                    <a:noFill/>
                  </a:ln>
                  <a:solidFill>
                    <a:srgbClr val="001A54"/>
                  </a:solidFill>
                  <a:effectLst/>
                  <a:uLnTx/>
                  <a:uFillTx/>
                  <a:latin typeface="Arial" panose="020B0604020202020204" pitchFamily="34" charset="0"/>
                  <a:cs typeface="Arial" panose="020B0604020202020204" pitchFamily="34" charset="0"/>
                </a:rPr>
                <a:t>fully applicable1/27</a:t>
              </a:r>
              <a:endParaRPr kumimoji="0" lang="en-US" sz="700" b="0" i="0" u="none" strike="noStrike" kern="1200" cap="none" spc="0" normalizeH="0" baseline="0" noProof="0">
                <a:ln>
                  <a:noFill/>
                </a:ln>
                <a:solidFill>
                  <a:srgbClr val="001A54"/>
                </a:solidFill>
                <a:effectLst/>
                <a:uLnTx/>
                <a:uFillTx/>
                <a:latin typeface="Arial" panose="020B0604020202020204"/>
                <a:cs typeface="Arial" panose="020B0604020202020204" pitchFamily="34" charset="0"/>
              </a:endParaRPr>
            </a:p>
          </p:txBody>
        </p:sp>
        <p:cxnSp>
          <p:nvCxnSpPr>
            <p:cNvPr id="32" name="Gerader Verbinder 31">
              <a:extLst>
                <a:ext uri="{FF2B5EF4-FFF2-40B4-BE49-F238E27FC236}">
                  <a16:creationId xmlns:a16="http://schemas.microsoft.com/office/drawing/2014/main" id="{0A6CBC8C-F63B-E1D0-9073-57522458D63E}"/>
                </a:ext>
              </a:extLst>
            </p:cNvPr>
            <p:cNvCxnSpPr>
              <a:cxnSpLocks/>
            </p:cNvCxnSpPr>
            <p:nvPr/>
          </p:nvCxnSpPr>
          <p:spPr>
            <a:xfrm>
              <a:off x="6876147" y="3080349"/>
              <a:ext cx="2362083" cy="0"/>
            </a:xfrm>
            <a:prstGeom prst="line">
              <a:avLst/>
            </a:prstGeom>
            <a:ln w="19050" cmpd="sng">
              <a:solidFill>
                <a:srgbClr val="001A54"/>
              </a:solidFill>
              <a:prstDash val="solid"/>
              <a:headEnd type="oval" w="med" len="med"/>
              <a:tailEnd type="none" w="med" len="med"/>
            </a:ln>
          </p:spPr>
          <p:style>
            <a:lnRef idx="1">
              <a:schemeClr val="accent1"/>
            </a:lnRef>
            <a:fillRef idx="0">
              <a:schemeClr val="accent1"/>
            </a:fillRef>
            <a:effectRef idx="0">
              <a:schemeClr val="accent1"/>
            </a:effectRef>
            <a:fontRef idx="minor">
              <a:schemeClr val="tx1"/>
            </a:fontRef>
          </p:style>
        </p:cxnSp>
        <p:sp>
          <p:nvSpPr>
            <p:cNvPr id="33" name="Textbox">
              <a:extLst>
                <a:ext uri="{FF2B5EF4-FFF2-40B4-BE49-F238E27FC236}">
                  <a16:creationId xmlns:a16="http://schemas.microsoft.com/office/drawing/2014/main" id="{E8C76E2D-CC51-ADD9-1F0D-C41B6BDE032E}"/>
                </a:ext>
              </a:extLst>
            </p:cNvPr>
            <p:cNvSpPr txBox="1">
              <a:spLocks/>
            </p:cNvSpPr>
            <p:nvPr>
              <p:custDataLst>
                <p:tags r:id="rId13"/>
              </p:custDataLst>
            </p:nvPr>
          </p:nvSpPr>
          <p:spPr>
            <a:xfrm>
              <a:off x="6871407" y="2936333"/>
              <a:ext cx="545021" cy="153756"/>
            </a:xfrm>
            <a:prstGeom prst="rect">
              <a:avLst/>
            </a:prstGeom>
            <a:noFill/>
            <a:extLst>
              <a:ext uri="{909E8E84-426E-40DD-AFC4-6F175D3DCCD1}">
                <a14:hiddenFill xmlns:a14="http://schemas.microsoft.com/office/drawing/2010/main">
                  <a:solidFill>
                    <a:srgbClr val="001A54"/>
                  </a:solidFill>
                </a14:hiddenFill>
              </a:ext>
            </a:extLst>
          </p:spPr>
          <p:txBody>
            <a:bodyPr vert="horz" wrap="none" lIns="0" tIns="0" rIns="0" bIns="36000" rtlCol="0">
              <a:spAutoFit/>
            </a:bodyPr>
            <a:lstStyle>
              <a:lvl1pPr marL="0" indent="0" algn="l" defTabSz="863995" rtl="0" eaLnBrk="1" latinLnBrk="0" hangingPunct="1">
                <a:lnSpc>
                  <a:spcPct val="120000"/>
                </a:lnSpc>
                <a:spcBef>
                  <a:spcPts val="1600"/>
                </a:spcBef>
                <a:spcAft>
                  <a:spcPts val="0"/>
                </a:spcAft>
                <a:buClr>
                  <a:schemeClr val="tx1"/>
                </a:buClr>
                <a:buFontTx/>
                <a:buNone/>
                <a:defRPr sz="1600" b="1" i="0" kern="1200">
                  <a:solidFill>
                    <a:srgbClr val="001A54"/>
                  </a:solidFill>
                  <a:latin typeface="+mn-lt"/>
                  <a:ea typeface="Aktiv Grotesk" panose="020B0504020202020204" pitchFamily="34" charset="0"/>
                  <a:cs typeface="Arial" panose="020B0604020202020204" pitchFamily="34" charset="0"/>
                </a:defRPr>
              </a:lvl1pPr>
              <a:lvl2pPr marL="0" indent="0" algn="l" defTabSz="863995" rtl="0" eaLnBrk="1" latinLnBrk="0" hangingPunct="1">
                <a:lnSpc>
                  <a:spcPct val="120000"/>
                </a:lnSpc>
                <a:spcBef>
                  <a:spcPts val="800"/>
                </a:spcBef>
                <a:spcAft>
                  <a:spcPts val="0"/>
                </a:spcAft>
                <a:buClr>
                  <a:schemeClr val="tx1"/>
                </a:buClr>
                <a:buFontTx/>
                <a:buNone/>
                <a:defRPr sz="1600" b="0" i="0" kern="1200">
                  <a:solidFill>
                    <a:srgbClr val="001A54"/>
                  </a:solidFill>
                  <a:latin typeface="+mn-lt"/>
                  <a:ea typeface="Aktiv Grotesk" panose="020B0504020202020204" pitchFamily="34" charset="0"/>
                  <a:cs typeface="Arial" panose="020B0604020202020204" pitchFamily="34" charset="0"/>
                </a:defRPr>
              </a:lvl2pPr>
              <a:lvl3pPr marL="180000" indent="-179388" algn="l" defTabSz="863995" rtl="0" eaLnBrk="1" latinLnBrk="0" hangingPunct="1">
                <a:lnSpc>
                  <a:spcPct val="120000"/>
                </a:lnSpc>
                <a:spcBef>
                  <a:spcPts val="800"/>
                </a:spcBef>
                <a:spcAft>
                  <a:spcPts val="0"/>
                </a:spcAft>
                <a:buClrTx/>
                <a:buFont typeface="Arial" panose="020B0604020202020204" pitchFamily="34" charset="0"/>
                <a:buChar char="•"/>
                <a:defRPr sz="1600" b="0" i="0" kern="1200">
                  <a:solidFill>
                    <a:srgbClr val="001A54"/>
                  </a:solidFill>
                  <a:latin typeface="+mn-lt"/>
                  <a:ea typeface="Aktiv Grotesk" panose="020B0504020202020204" pitchFamily="34" charset="0"/>
                  <a:cs typeface="Arial" panose="020B0604020202020204" pitchFamily="34" charset="0"/>
                </a:defRPr>
              </a:lvl3pPr>
              <a:lvl4pPr marL="360000" indent="-180000" algn="l" defTabSz="863995" rtl="0" eaLnBrk="1" latinLnBrk="0" hangingPunct="1">
                <a:lnSpc>
                  <a:spcPct val="120000"/>
                </a:lnSpc>
                <a:spcBef>
                  <a:spcPts val="800"/>
                </a:spcBef>
                <a:spcAft>
                  <a:spcPts val="0"/>
                </a:spcAft>
                <a:buClrTx/>
                <a:buFont typeface="Arial" panose="020B0604020202020204" pitchFamily="34" charset="0"/>
                <a:buChar char="•"/>
                <a:defRPr sz="1600" b="0" i="0" kern="1200">
                  <a:solidFill>
                    <a:srgbClr val="001A54"/>
                  </a:solidFill>
                  <a:latin typeface="+mn-lt"/>
                  <a:ea typeface="Aktiv Grotesk" panose="020B0504020202020204" pitchFamily="34" charset="0"/>
                  <a:cs typeface="Arial" panose="020B0604020202020204" pitchFamily="34" charset="0"/>
                </a:defRPr>
              </a:lvl4pPr>
              <a:lvl5pPr marL="540000" indent="-180000" algn="l" defTabSz="863995" rtl="0" eaLnBrk="1" latinLnBrk="0" hangingPunct="1">
                <a:lnSpc>
                  <a:spcPct val="120000"/>
                </a:lnSpc>
                <a:spcBef>
                  <a:spcPts val="800"/>
                </a:spcBef>
                <a:spcAft>
                  <a:spcPts val="0"/>
                </a:spcAft>
                <a:buClrTx/>
                <a:buFont typeface="Arial" panose="020B0604020202020204" pitchFamily="34" charset="0"/>
                <a:buChar char="•"/>
                <a:defRPr sz="1600" b="0" i="0" kern="1200">
                  <a:solidFill>
                    <a:srgbClr val="001A54"/>
                  </a:solidFill>
                  <a:latin typeface="+mn-lt"/>
                  <a:ea typeface="Aktiv Grotesk" panose="020B0504020202020204" pitchFamily="34" charset="0"/>
                  <a:cs typeface="Arial" panose="020B0604020202020204" pitchFamily="34" charset="0"/>
                </a:defRPr>
              </a:lvl5pPr>
              <a:lvl6pPr marL="2375986" indent="-215998" algn="l" defTabSz="86399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6pPr>
              <a:lvl7pPr marL="2807984" indent="-215998" algn="l" defTabSz="86399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7pPr>
              <a:lvl8pPr marL="3239981" indent="-215998" algn="l" defTabSz="86399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8pPr>
              <a:lvl9pPr marL="3671979" indent="-215998" algn="l" defTabSz="86399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9pPr>
            </a:lstStyle>
            <a:p>
              <a:pPr marL="0" marR="0" lvl="0" indent="0" algn="l" defTabSz="863995" rtl="0" eaLnBrk="1" fontAlgn="auto" latinLnBrk="0" hangingPunct="1">
                <a:lnSpc>
                  <a:spcPct val="120000"/>
                </a:lnSpc>
                <a:spcBef>
                  <a:spcPts val="800"/>
                </a:spcBef>
                <a:spcAft>
                  <a:spcPts val="0"/>
                </a:spcAft>
                <a:buClr>
                  <a:srgbClr val="001A54"/>
                </a:buClr>
                <a:buSzTx/>
                <a:buFontTx/>
                <a:buNone/>
                <a:tabLst/>
                <a:defRPr/>
              </a:pPr>
              <a:r>
                <a:rPr kumimoji="0" lang="en" sz="700" b="0" i="0" u="none" strike="noStrike" kern="1200" cap="none" spc="0" normalizeH="0" baseline="0" noProof="0">
                  <a:ln>
                    <a:noFill/>
                  </a:ln>
                  <a:solidFill>
                    <a:srgbClr val="FFFFFF"/>
                  </a:solidFill>
                  <a:effectLst/>
                  <a:uLnTx/>
                  <a:uFillTx/>
                  <a:latin typeface="Arial" panose="020B0604020202020204"/>
                  <a:cs typeface="Arial" panose="020B0604020202020204" pitchFamily="34" charset="0"/>
                </a:rPr>
                <a:t>in force 12/24</a:t>
              </a:r>
            </a:p>
          </p:txBody>
        </p:sp>
        <p:sp>
          <p:nvSpPr>
            <p:cNvPr id="35" name="Textbox">
              <a:extLst>
                <a:ext uri="{FF2B5EF4-FFF2-40B4-BE49-F238E27FC236}">
                  <a16:creationId xmlns:a16="http://schemas.microsoft.com/office/drawing/2014/main" id="{8423827D-0C06-0358-D1FA-0C9B95EF6CF8}"/>
                </a:ext>
              </a:extLst>
            </p:cNvPr>
            <p:cNvSpPr txBox="1">
              <a:spLocks/>
            </p:cNvSpPr>
            <p:nvPr>
              <p:custDataLst>
                <p:tags r:id="rId14"/>
              </p:custDataLst>
            </p:nvPr>
          </p:nvSpPr>
          <p:spPr>
            <a:xfrm>
              <a:off x="9288636" y="2936333"/>
              <a:ext cx="835165" cy="153756"/>
            </a:xfrm>
            <a:prstGeom prst="rect">
              <a:avLst/>
            </a:prstGeom>
            <a:noFill/>
            <a:extLst>
              <a:ext uri="{909E8E84-426E-40DD-AFC4-6F175D3DCCD1}">
                <a14:hiddenFill xmlns:a14="http://schemas.microsoft.com/office/drawing/2010/main">
                  <a:solidFill>
                    <a:srgbClr val="001A54"/>
                  </a:solidFill>
                </a14:hiddenFill>
              </a:ext>
            </a:extLst>
          </p:spPr>
          <p:txBody>
            <a:bodyPr vert="horz" wrap="none" lIns="0" tIns="0" rIns="0" bIns="36000" rtlCol="0">
              <a:spAutoFit/>
            </a:bodyPr>
            <a:lstStyle>
              <a:lvl1pPr marL="0" indent="0" algn="l" defTabSz="863995" rtl="0" eaLnBrk="1" latinLnBrk="0" hangingPunct="1">
                <a:lnSpc>
                  <a:spcPct val="120000"/>
                </a:lnSpc>
                <a:spcBef>
                  <a:spcPts val="1600"/>
                </a:spcBef>
                <a:spcAft>
                  <a:spcPts val="0"/>
                </a:spcAft>
                <a:buClr>
                  <a:schemeClr val="tx1"/>
                </a:buClr>
                <a:buFontTx/>
                <a:buNone/>
                <a:defRPr sz="1600" b="1" i="0" kern="1200">
                  <a:solidFill>
                    <a:srgbClr val="001A54"/>
                  </a:solidFill>
                  <a:latin typeface="+mn-lt"/>
                  <a:ea typeface="Aktiv Grotesk" panose="020B0504020202020204" pitchFamily="34" charset="0"/>
                  <a:cs typeface="Arial" panose="020B0604020202020204" pitchFamily="34" charset="0"/>
                </a:defRPr>
              </a:lvl1pPr>
              <a:lvl2pPr marL="0" indent="0" algn="l" defTabSz="863995" rtl="0" eaLnBrk="1" latinLnBrk="0" hangingPunct="1">
                <a:lnSpc>
                  <a:spcPct val="120000"/>
                </a:lnSpc>
                <a:spcBef>
                  <a:spcPts val="800"/>
                </a:spcBef>
                <a:spcAft>
                  <a:spcPts val="0"/>
                </a:spcAft>
                <a:buClr>
                  <a:schemeClr val="tx1"/>
                </a:buClr>
                <a:buFontTx/>
                <a:buNone/>
                <a:defRPr sz="1600" b="0" i="0" kern="1200">
                  <a:solidFill>
                    <a:srgbClr val="001A54"/>
                  </a:solidFill>
                  <a:latin typeface="+mn-lt"/>
                  <a:ea typeface="Aktiv Grotesk" panose="020B0504020202020204" pitchFamily="34" charset="0"/>
                  <a:cs typeface="Arial" panose="020B0604020202020204" pitchFamily="34" charset="0"/>
                </a:defRPr>
              </a:lvl2pPr>
              <a:lvl3pPr marL="180000" indent="-179388" algn="l" defTabSz="863995" rtl="0" eaLnBrk="1" latinLnBrk="0" hangingPunct="1">
                <a:lnSpc>
                  <a:spcPct val="120000"/>
                </a:lnSpc>
                <a:spcBef>
                  <a:spcPts val="800"/>
                </a:spcBef>
                <a:spcAft>
                  <a:spcPts val="0"/>
                </a:spcAft>
                <a:buClrTx/>
                <a:buFont typeface="Arial" panose="020B0604020202020204" pitchFamily="34" charset="0"/>
                <a:buChar char="•"/>
                <a:defRPr sz="1600" b="0" i="0" kern="1200">
                  <a:solidFill>
                    <a:srgbClr val="001A54"/>
                  </a:solidFill>
                  <a:latin typeface="+mn-lt"/>
                  <a:ea typeface="Aktiv Grotesk" panose="020B0504020202020204" pitchFamily="34" charset="0"/>
                  <a:cs typeface="Arial" panose="020B0604020202020204" pitchFamily="34" charset="0"/>
                </a:defRPr>
              </a:lvl3pPr>
              <a:lvl4pPr marL="360000" indent="-180000" algn="l" defTabSz="863995" rtl="0" eaLnBrk="1" latinLnBrk="0" hangingPunct="1">
                <a:lnSpc>
                  <a:spcPct val="120000"/>
                </a:lnSpc>
                <a:spcBef>
                  <a:spcPts val="800"/>
                </a:spcBef>
                <a:spcAft>
                  <a:spcPts val="0"/>
                </a:spcAft>
                <a:buClrTx/>
                <a:buFont typeface="Arial" panose="020B0604020202020204" pitchFamily="34" charset="0"/>
                <a:buChar char="•"/>
                <a:defRPr sz="1600" b="0" i="0" kern="1200">
                  <a:solidFill>
                    <a:srgbClr val="001A54"/>
                  </a:solidFill>
                  <a:latin typeface="+mn-lt"/>
                  <a:ea typeface="Aktiv Grotesk" panose="020B0504020202020204" pitchFamily="34" charset="0"/>
                  <a:cs typeface="Arial" panose="020B0604020202020204" pitchFamily="34" charset="0"/>
                </a:defRPr>
              </a:lvl4pPr>
              <a:lvl5pPr marL="540000" indent="-180000" algn="l" defTabSz="863995" rtl="0" eaLnBrk="1" latinLnBrk="0" hangingPunct="1">
                <a:lnSpc>
                  <a:spcPct val="120000"/>
                </a:lnSpc>
                <a:spcBef>
                  <a:spcPts val="800"/>
                </a:spcBef>
                <a:spcAft>
                  <a:spcPts val="0"/>
                </a:spcAft>
                <a:buClrTx/>
                <a:buFont typeface="Arial" panose="020B0604020202020204" pitchFamily="34" charset="0"/>
                <a:buChar char="•"/>
                <a:defRPr sz="1600" b="0" i="0" kern="1200">
                  <a:solidFill>
                    <a:srgbClr val="001A54"/>
                  </a:solidFill>
                  <a:latin typeface="+mn-lt"/>
                  <a:ea typeface="Aktiv Grotesk" panose="020B0504020202020204" pitchFamily="34" charset="0"/>
                  <a:cs typeface="Arial" panose="020B0604020202020204" pitchFamily="34" charset="0"/>
                </a:defRPr>
              </a:lvl5pPr>
              <a:lvl6pPr marL="2375986" indent="-215998" algn="l" defTabSz="86399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6pPr>
              <a:lvl7pPr marL="2807984" indent="-215998" algn="l" defTabSz="86399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7pPr>
              <a:lvl8pPr marL="3239981" indent="-215998" algn="l" defTabSz="86399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8pPr>
              <a:lvl9pPr marL="3671979" indent="-215998" algn="l" defTabSz="86399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9pPr>
            </a:lstStyle>
            <a:p>
              <a:pPr marL="0" marR="0" lvl="0" indent="0" algn="l" defTabSz="863995" rtl="0" eaLnBrk="1" fontAlgn="auto" latinLnBrk="0" hangingPunct="1">
                <a:lnSpc>
                  <a:spcPct val="120000"/>
                </a:lnSpc>
                <a:spcBef>
                  <a:spcPts val="800"/>
                </a:spcBef>
                <a:spcAft>
                  <a:spcPts val="0"/>
                </a:spcAft>
                <a:buClr>
                  <a:srgbClr val="001A54"/>
                </a:buClr>
                <a:buSzTx/>
                <a:buFontTx/>
                <a:buNone/>
                <a:tabLst/>
                <a:defRPr/>
              </a:pPr>
              <a:r>
                <a:rPr kumimoji="0" lang="en" sz="7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rPr>
                <a:t>fully applicable 12/27</a:t>
              </a:r>
            </a:p>
          </p:txBody>
        </p:sp>
        <p:cxnSp>
          <p:nvCxnSpPr>
            <p:cNvPr id="45" name="Gerader Verbinder 44">
              <a:extLst>
                <a:ext uri="{FF2B5EF4-FFF2-40B4-BE49-F238E27FC236}">
                  <a16:creationId xmlns:a16="http://schemas.microsoft.com/office/drawing/2014/main" id="{8B944A84-C288-CB80-E7ED-679D62E9A7B9}"/>
                </a:ext>
              </a:extLst>
            </p:cNvPr>
            <p:cNvCxnSpPr>
              <a:cxnSpLocks/>
            </p:cNvCxnSpPr>
            <p:nvPr/>
          </p:nvCxnSpPr>
          <p:spPr>
            <a:xfrm flipV="1">
              <a:off x="7567573" y="3498991"/>
              <a:ext cx="3396038" cy="8396"/>
            </a:xfrm>
            <a:prstGeom prst="line">
              <a:avLst/>
            </a:prstGeom>
            <a:ln w="19050" cmpd="sng">
              <a:solidFill>
                <a:srgbClr val="001A54"/>
              </a:solidFill>
              <a:prstDash val="solid"/>
              <a:headEnd type="oval"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7" name="Gerader Verbinder 46">
              <a:extLst>
                <a:ext uri="{FF2B5EF4-FFF2-40B4-BE49-F238E27FC236}">
                  <a16:creationId xmlns:a16="http://schemas.microsoft.com/office/drawing/2014/main" id="{70A81BBC-EAF8-33F6-63B4-71AC41BFF144}"/>
                </a:ext>
              </a:extLst>
            </p:cNvPr>
            <p:cNvCxnSpPr>
              <a:cxnSpLocks/>
            </p:cNvCxnSpPr>
            <p:nvPr/>
          </p:nvCxnSpPr>
          <p:spPr>
            <a:xfrm>
              <a:off x="4555611" y="4376493"/>
              <a:ext cx="6408000" cy="0"/>
            </a:xfrm>
            <a:prstGeom prst="line">
              <a:avLst/>
            </a:prstGeom>
            <a:ln w="19050" cmpd="sng">
              <a:solidFill>
                <a:srgbClr val="001A54"/>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8" name="Gerader Verbinder 47">
              <a:extLst>
                <a:ext uri="{FF2B5EF4-FFF2-40B4-BE49-F238E27FC236}">
                  <a16:creationId xmlns:a16="http://schemas.microsoft.com/office/drawing/2014/main" id="{4E0A1845-88A8-B11F-10CF-60D67BD3C9BE}"/>
                </a:ext>
              </a:extLst>
            </p:cNvPr>
            <p:cNvCxnSpPr>
              <a:cxnSpLocks/>
            </p:cNvCxnSpPr>
            <p:nvPr/>
          </p:nvCxnSpPr>
          <p:spPr>
            <a:xfrm>
              <a:off x="4835820" y="4772537"/>
              <a:ext cx="1692000" cy="0"/>
            </a:xfrm>
            <a:prstGeom prst="line">
              <a:avLst/>
            </a:prstGeom>
            <a:ln w="19050" cmpd="sng">
              <a:solidFill>
                <a:srgbClr val="001A54"/>
              </a:solidFill>
              <a:prstDash val="solid"/>
              <a:headEnd type="oval" w="med" len="med"/>
              <a:tailEnd type="none" w="med" len="med"/>
            </a:ln>
          </p:spPr>
          <p:style>
            <a:lnRef idx="1">
              <a:schemeClr val="accent1"/>
            </a:lnRef>
            <a:fillRef idx="0">
              <a:schemeClr val="accent1"/>
            </a:fillRef>
            <a:effectRef idx="0">
              <a:schemeClr val="accent1"/>
            </a:effectRef>
            <a:fontRef idx="minor">
              <a:schemeClr val="tx1"/>
            </a:fontRef>
          </p:style>
        </p:cxnSp>
        <p:sp>
          <p:nvSpPr>
            <p:cNvPr id="49" name="Textbox">
              <a:extLst>
                <a:ext uri="{FF2B5EF4-FFF2-40B4-BE49-F238E27FC236}">
                  <a16:creationId xmlns:a16="http://schemas.microsoft.com/office/drawing/2014/main" id="{A8915660-DD4D-9D7D-3F78-8DB2EEED213B}"/>
                </a:ext>
              </a:extLst>
            </p:cNvPr>
            <p:cNvSpPr txBox="1">
              <a:spLocks/>
            </p:cNvSpPr>
            <p:nvPr>
              <p:custDataLst>
                <p:tags r:id="rId15"/>
              </p:custDataLst>
            </p:nvPr>
          </p:nvSpPr>
          <p:spPr>
            <a:xfrm>
              <a:off x="4835820" y="4628521"/>
              <a:ext cx="604333" cy="153756"/>
            </a:xfrm>
            <a:prstGeom prst="rect">
              <a:avLst/>
            </a:prstGeom>
            <a:noFill/>
            <a:extLst>
              <a:ext uri="{909E8E84-426E-40DD-AFC4-6F175D3DCCD1}">
                <a14:hiddenFill xmlns:a14="http://schemas.microsoft.com/office/drawing/2010/main">
                  <a:solidFill>
                    <a:srgbClr val="001A54"/>
                  </a:solidFill>
                </a14:hiddenFill>
              </a:ext>
            </a:extLst>
          </p:spPr>
          <p:txBody>
            <a:bodyPr vert="horz" wrap="none" lIns="0" tIns="0" rIns="0" bIns="36000" rtlCol="0">
              <a:spAutoFit/>
            </a:bodyPr>
            <a:lstStyle>
              <a:lvl1pPr marL="0" indent="0" algn="l" defTabSz="863995" rtl="0" eaLnBrk="1" latinLnBrk="0" hangingPunct="1">
                <a:lnSpc>
                  <a:spcPct val="120000"/>
                </a:lnSpc>
                <a:spcBef>
                  <a:spcPts val="1600"/>
                </a:spcBef>
                <a:spcAft>
                  <a:spcPts val="0"/>
                </a:spcAft>
                <a:buClr>
                  <a:schemeClr val="tx1"/>
                </a:buClr>
                <a:buFontTx/>
                <a:buNone/>
                <a:defRPr sz="1600" b="1" i="0" kern="1200">
                  <a:solidFill>
                    <a:srgbClr val="001A54"/>
                  </a:solidFill>
                  <a:latin typeface="+mn-lt"/>
                  <a:ea typeface="Aktiv Grotesk" panose="020B0504020202020204" pitchFamily="34" charset="0"/>
                  <a:cs typeface="Arial" panose="020B0604020202020204" pitchFamily="34" charset="0"/>
                </a:defRPr>
              </a:lvl1pPr>
              <a:lvl2pPr marL="0" indent="0" algn="l" defTabSz="863995" rtl="0" eaLnBrk="1" latinLnBrk="0" hangingPunct="1">
                <a:lnSpc>
                  <a:spcPct val="120000"/>
                </a:lnSpc>
                <a:spcBef>
                  <a:spcPts val="800"/>
                </a:spcBef>
                <a:spcAft>
                  <a:spcPts val="0"/>
                </a:spcAft>
                <a:buClr>
                  <a:schemeClr val="tx1"/>
                </a:buClr>
                <a:buFontTx/>
                <a:buNone/>
                <a:defRPr sz="1600" b="0" i="0" kern="1200">
                  <a:solidFill>
                    <a:srgbClr val="001A54"/>
                  </a:solidFill>
                  <a:latin typeface="+mn-lt"/>
                  <a:ea typeface="Aktiv Grotesk" panose="020B0504020202020204" pitchFamily="34" charset="0"/>
                  <a:cs typeface="Arial" panose="020B0604020202020204" pitchFamily="34" charset="0"/>
                </a:defRPr>
              </a:lvl2pPr>
              <a:lvl3pPr marL="180000" indent="-179388" algn="l" defTabSz="863995" rtl="0" eaLnBrk="1" latinLnBrk="0" hangingPunct="1">
                <a:lnSpc>
                  <a:spcPct val="120000"/>
                </a:lnSpc>
                <a:spcBef>
                  <a:spcPts val="800"/>
                </a:spcBef>
                <a:spcAft>
                  <a:spcPts val="0"/>
                </a:spcAft>
                <a:buClrTx/>
                <a:buFont typeface="Arial" panose="020B0604020202020204" pitchFamily="34" charset="0"/>
                <a:buChar char="•"/>
                <a:defRPr sz="1600" b="0" i="0" kern="1200">
                  <a:solidFill>
                    <a:srgbClr val="001A54"/>
                  </a:solidFill>
                  <a:latin typeface="+mn-lt"/>
                  <a:ea typeface="Aktiv Grotesk" panose="020B0504020202020204" pitchFamily="34" charset="0"/>
                  <a:cs typeface="Arial" panose="020B0604020202020204" pitchFamily="34" charset="0"/>
                </a:defRPr>
              </a:lvl3pPr>
              <a:lvl4pPr marL="360000" indent="-180000" algn="l" defTabSz="863995" rtl="0" eaLnBrk="1" latinLnBrk="0" hangingPunct="1">
                <a:lnSpc>
                  <a:spcPct val="120000"/>
                </a:lnSpc>
                <a:spcBef>
                  <a:spcPts val="800"/>
                </a:spcBef>
                <a:spcAft>
                  <a:spcPts val="0"/>
                </a:spcAft>
                <a:buClrTx/>
                <a:buFont typeface="Arial" panose="020B0604020202020204" pitchFamily="34" charset="0"/>
                <a:buChar char="•"/>
                <a:defRPr sz="1600" b="0" i="0" kern="1200">
                  <a:solidFill>
                    <a:srgbClr val="001A54"/>
                  </a:solidFill>
                  <a:latin typeface="+mn-lt"/>
                  <a:ea typeface="Aktiv Grotesk" panose="020B0504020202020204" pitchFamily="34" charset="0"/>
                  <a:cs typeface="Arial" panose="020B0604020202020204" pitchFamily="34" charset="0"/>
                </a:defRPr>
              </a:lvl4pPr>
              <a:lvl5pPr marL="540000" indent="-180000" algn="l" defTabSz="863995" rtl="0" eaLnBrk="1" latinLnBrk="0" hangingPunct="1">
                <a:lnSpc>
                  <a:spcPct val="120000"/>
                </a:lnSpc>
                <a:spcBef>
                  <a:spcPts val="800"/>
                </a:spcBef>
                <a:spcAft>
                  <a:spcPts val="0"/>
                </a:spcAft>
                <a:buClrTx/>
                <a:buFont typeface="Arial" panose="020B0604020202020204" pitchFamily="34" charset="0"/>
                <a:buChar char="•"/>
                <a:defRPr sz="1600" b="0" i="0" kern="1200">
                  <a:solidFill>
                    <a:srgbClr val="001A54"/>
                  </a:solidFill>
                  <a:latin typeface="+mn-lt"/>
                  <a:ea typeface="Aktiv Grotesk" panose="020B0504020202020204" pitchFamily="34" charset="0"/>
                  <a:cs typeface="Arial" panose="020B0604020202020204" pitchFamily="34" charset="0"/>
                </a:defRPr>
              </a:lvl5pPr>
              <a:lvl6pPr marL="2375986" indent="-215998" algn="l" defTabSz="86399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6pPr>
              <a:lvl7pPr marL="2807984" indent="-215998" algn="l" defTabSz="86399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7pPr>
              <a:lvl8pPr marL="3239981" indent="-215998" algn="l" defTabSz="86399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8pPr>
              <a:lvl9pPr marL="3671979" indent="-215998" algn="l" defTabSz="86399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9pPr>
            </a:lstStyle>
            <a:p>
              <a:pPr marL="0" marR="0" lvl="0" indent="0" algn="l" defTabSz="863995" rtl="0" eaLnBrk="1" fontAlgn="auto" latinLnBrk="0" hangingPunct="1">
                <a:lnSpc>
                  <a:spcPct val="120000"/>
                </a:lnSpc>
                <a:spcBef>
                  <a:spcPts val="800"/>
                </a:spcBef>
                <a:spcAft>
                  <a:spcPts val="0"/>
                </a:spcAft>
                <a:buClr>
                  <a:srgbClr val="001A54"/>
                </a:buClr>
                <a:buSzTx/>
                <a:buFontTx/>
                <a:buNone/>
                <a:tabLst/>
                <a:defRPr/>
              </a:pPr>
              <a:r>
                <a:rPr kumimoji="0" lang="en" sz="700" b="0" i="0" u="none" strike="noStrike" kern="1200" cap="none" spc="0" normalizeH="0" baseline="0" noProof="0">
                  <a:ln>
                    <a:noFill/>
                  </a:ln>
                  <a:solidFill>
                    <a:srgbClr val="001A54"/>
                  </a:solidFill>
                  <a:effectLst/>
                  <a:uLnTx/>
                  <a:uFillTx/>
                  <a:latin typeface="Arial" panose="020B0604020202020204"/>
                  <a:cs typeface="Arial" panose="020B0604020202020204" pitchFamily="34" charset="0"/>
                </a:rPr>
                <a:t>new types 7/22</a:t>
              </a:r>
            </a:p>
          </p:txBody>
        </p:sp>
        <p:cxnSp>
          <p:nvCxnSpPr>
            <p:cNvPr id="50" name="Gerader Verbinder 49">
              <a:extLst>
                <a:ext uri="{FF2B5EF4-FFF2-40B4-BE49-F238E27FC236}">
                  <a16:creationId xmlns:a16="http://schemas.microsoft.com/office/drawing/2014/main" id="{021F09E2-92B0-A7A1-5550-D7708E3A4979}"/>
                </a:ext>
              </a:extLst>
            </p:cNvPr>
            <p:cNvCxnSpPr>
              <a:cxnSpLocks/>
            </p:cNvCxnSpPr>
            <p:nvPr/>
          </p:nvCxnSpPr>
          <p:spPr>
            <a:xfrm>
              <a:off x="6532033" y="4772537"/>
              <a:ext cx="4434900" cy="0"/>
            </a:xfrm>
            <a:prstGeom prst="line">
              <a:avLst/>
            </a:prstGeom>
            <a:ln w="19050" cmpd="sng">
              <a:solidFill>
                <a:srgbClr val="001A54"/>
              </a:solidFill>
              <a:prstDash val="solid"/>
              <a:headEnd type="oval"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1" name="Textbox">
              <a:extLst>
                <a:ext uri="{FF2B5EF4-FFF2-40B4-BE49-F238E27FC236}">
                  <a16:creationId xmlns:a16="http://schemas.microsoft.com/office/drawing/2014/main" id="{13E46321-9B2D-1DAF-05B6-D6300A61E0D6}"/>
                </a:ext>
              </a:extLst>
            </p:cNvPr>
            <p:cNvSpPr txBox="1">
              <a:spLocks/>
            </p:cNvSpPr>
            <p:nvPr>
              <p:custDataLst>
                <p:tags r:id="rId16"/>
              </p:custDataLst>
            </p:nvPr>
          </p:nvSpPr>
          <p:spPr>
            <a:xfrm>
              <a:off x="6532033" y="4628521"/>
              <a:ext cx="1035540" cy="153756"/>
            </a:xfrm>
            <a:prstGeom prst="rect">
              <a:avLst/>
            </a:prstGeom>
            <a:noFill/>
            <a:extLst>
              <a:ext uri="{909E8E84-426E-40DD-AFC4-6F175D3DCCD1}">
                <a14:hiddenFill xmlns:a14="http://schemas.microsoft.com/office/drawing/2010/main">
                  <a:solidFill>
                    <a:srgbClr val="001A54"/>
                  </a:solidFill>
                </a14:hiddenFill>
              </a:ext>
            </a:extLst>
          </p:spPr>
          <p:txBody>
            <a:bodyPr vert="horz" wrap="none" lIns="0" tIns="0" rIns="0" bIns="36000" rtlCol="0">
              <a:spAutoFit/>
            </a:bodyPr>
            <a:lstStyle>
              <a:lvl1pPr marL="0" indent="0" algn="l" defTabSz="863995" rtl="0" eaLnBrk="1" latinLnBrk="0" hangingPunct="1">
                <a:lnSpc>
                  <a:spcPct val="120000"/>
                </a:lnSpc>
                <a:spcBef>
                  <a:spcPts val="1600"/>
                </a:spcBef>
                <a:spcAft>
                  <a:spcPts val="0"/>
                </a:spcAft>
                <a:buClr>
                  <a:schemeClr val="tx1"/>
                </a:buClr>
                <a:buFontTx/>
                <a:buNone/>
                <a:defRPr sz="1600" b="1" i="0" kern="1200">
                  <a:solidFill>
                    <a:srgbClr val="001A54"/>
                  </a:solidFill>
                  <a:latin typeface="+mn-lt"/>
                  <a:ea typeface="Aktiv Grotesk" panose="020B0504020202020204" pitchFamily="34" charset="0"/>
                  <a:cs typeface="Arial" panose="020B0604020202020204" pitchFamily="34" charset="0"/>
                </a:defRPr>
              </a:lvl1pPr>
              <a:lvl2pPr marL="0" indent="0" algn="l" defTabSz="863995" rtl="0" eaLnBrk="1" latinLnBrk="0" hangingPunct="1">
                <a:lnSpc>
                  <a:spcPct val="120000"/>
                </a:lnSpc>
                <a:spcBef>
                  <a:spcPts val="800"/>
                </a:spcBef>
                <a:spcAft>
                  <a:spcPts val="0"/>
                </a:spcAft>
                <a:buClr>
                  <a:schemeClr val="tx1"/>
                </a:buClr>
                <a:buFontTx/>
                <a:buNone/>
                <a:defRPr sz="1600" b="0" i="0" kern="1200">
                  <a:solidFill>
                    <a:srgbClr val="001A54"/>
                  </a:solidFill>
                  <a:latin typeface="+mn-lt"/>
                  <a:ea typeface="Aktiv Grotesk" panose="020B0504020202020204" pitchFamily="34" charset="0"/>
                  <a:cs typeface="Arial" panose="020B0604020202020204" pitchFamily="34" charset="0"/>
                </a:defRPr>
              </a:lvl2pPr>
              <a:lvl3pPr marL="180000" indent="-179388" algn="l" defTabSz="863995" rtl="0" eaLnBrk="1" latinLnBrk="0" hangingPunct="1">
                <a:lnSpc>
                  <a:spcPct val="120000"/>
                </a:lnSpc>
                <a:spcBef>
                  <a:spcPts val="800"/>
                </a:spcBef>
                <a:spcAft>
                  <a:spcPts val="0"/>
                </a:spcAft>
                <a:buClrTx/>
                <a:buFont typeface="Arial" panose="020B0604020202020204" pitchFamily="34" charset="0"/>
                <a:buChar char="•"/>
                <a:defRPr sz="1600" b="0" i="0" kern="1200">
                  <a:solidFill>
                    <a:srgbClr val="001A54"/>
                  </a:solidFill>
                  <a:latin typeface="+mn-lt"/>
                  <a:ea typeface="Aktiv Grotesk" panose="020B0504020202020204" pitchFamily="34" charset="0"/>
                  <a:cs typeface="Arial" panose="020B0604020202020204" pitchFamily="34" charset="0"/>
                </a:defRPr>
              </a:lvl3pPr>
              <a:lvl4pPr marL="360000" indent="-180000" algn="l" defTabSz="863995" rtl="0" eaLnBrk="1" latinLnBrk="0" hangingPunct="1">
                <a:lnSpc>
                  <a:spcPct val="120000"/>
                </a:lnSpc>
                <a:spcBef>
                  <a:spcPts val="800"/>
                </a:spcBef>
                <a:spcAft>
                  <a:spcPts val="0"/>
                </a:spcAft>
                <a:buClrTx/>
                <a:buFont typeface="Arial" panose="020B0604020202020204" pitchFamily="34" charset="0"/>
                <a:buChar char="•"/>
                <a:defRPr sz="1600" b="0" i="0" kern="1200">
                  <a:solidFill>
                    <a:srgbClr val="001A54"/>
                  </a:solidFill>
                  <a:latin typeface="+mn-lt"/>
                  <a:ea typeface="Aktiv Grotesk" panose="020B0504020202020204" pitchFamily="34" charset="0"/>
                  <a:cs typeface="Arial" panose="020B0604020202020204" pitchFamily="34" charset="0"/>
                </a:defRPr>
              </a:lvl4pPr>
              <a:lvl5pPr marL="540000" indent="-180000" algn="l" defTabSz="863995" rtl="0" eaLnBrk="1" latinLnBrk="0" hangingPunct="1">
                <a:lnSpc>
                  <a:spcPct val="120000"/>
                </a:lnSpc>
                <a:spcBef>
                  <a:spcPts val="800"/>
                </a:spcBef>
                <a:spcAft>
                  <a:spcPts val="0"/>
                </a:spcAft>
                <a:buClrTx/>
                <a:buFont typeface="Arial" panose="020B0604020202020204" pitchFamily="34" charset="0"/>
                <a:buChar char="•"/>
                <a:defRPr sz="1600" b="0" i="0" kern="1200">
                  <a:solidFill>
                    <a:srgbClr val="001A54"/>
                  </a:solidFill>
                  <a:latin typeface="+mn-lt"/>
                  <a:ea typeface="Aktiv Grotesk" panose="020B0504020202020204" pitchFamily="34" charset="0"/>
                  <a:cs typeface="Arial" panose="020B0604020202020204" pitchFamily="34" charset="0"/>
                </a:defRPr>
              </a:lvl5pPr>
              <a:lvl6pPr marL="2375986" indent="-215998" algn="l" defTabSz="86399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6pPr>
              <a:lvl7pPr marL="2807984" indent="-215998" algn="l" defTabSz="86399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7pPr>
              <a:lvl8pPr marL="3239981" indent="-215998" algn="l" defTabSz="86399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8pPr>
              <a:lvl9pPr marL="3671979" indent="-215998" algn="l" defTabSz="86399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9pPr>
            </a:lstStyle>
            <a:p>
              <a:pPr marL="0" marR="0" lvl="0" indent="0" algn="l" defTabSz="863995" rtl="0" eaLnBrk="1" fontAlgn="auto" latinLnBrk="0" hangingPunct="1">
                <a:lnSpc>
                  <a:spcPct val="120000"/>
                </a:lnSpc>
                <a:spcBef>
                  <a:spcPts val="800"/>
                </a:spcBef>
                <a:spcAft>
                  <a:spcPts val="0"/>
                </a:spcAft>
                <a:buClr>
                  <a:srgbClr val="001A54"/>
                </a:buClr>
                <a:buSzTx/>
                <a:buFontTx/>
                <a:buNone/>
                <a:tabLst/>
                <a:defRPr/>
              </a:pPr>
              <a:r>
                <a:rPr kumimoji="0" lang="en" sz="700" b="0" i="0" u="none" strike="noStrike" kern="1200" cap="none" spc="0" normalizeH="0" baseline="0" noProof="0">
                  <a:ln>
                    <a:noFill/>
                  </a:ln>
                  <a:solidFill>
                    <a:srgbClr val="001A54"/>
                  </a:solidFill>
                  <a:effectLst/>
                  <a:uLnTx/>
                  <a:uFillTx/>
                  <a:latin typeface="Arial" panose="020B0604020202020204"/>
                  <a:cs typeface="Arial" panose="020B0604020202020204" pitchFamily="34" charset="0"/>
                </a:rPr>
                <a:t>all vehicles produced 7/24</a:t>
              </a:r>
            </a:p>
          </p:txBody>
        </p:sp>
        <p:cxnSp>
          <p:nvCxnSpPr>
            <p:cNvPr id="52" name="Gerader Verbinder 51">
              <a:extLst>
                <a:ext uri="{FF2B5EF4-FFF2-40B4-BE49-F238E27FC236}">
                  <a16:creationId xmlns:a16="http://schemas.microsoft.com/office/drawing/2014/main" id="{1D1F6712-F195-7F79-DD53-D9504104DFB9}"/>
                </a:ext>
              </a:extLst>
            </p:cNvPr>
            <p:cNvCxnSpPr>
              <a:cxnSpLocks/>
            </p:cNvCxnSpPr>
            <p:nvPr/>
          </p:nvCxnSpPr>
          <p:spPr>
            <a:xfrm>
              <a:off x="6140601" y="5142317"/>
              <a:ext cx="1908000" cy="0"/>
            </a:xfrm>
            <a:prstGeom prst="line">
              <a:avLst/>
            </a:prstGeom>
            <a:ln w="19050" cmpd="sng">
              <a:solidFill>
                <a:srgbClr val="001A54"/>
              </a:solidFill>
              <a:prstDash val="solid"/>
              <a:headEnd type="oval" w="med" len="med"/>
              <a:tailEnd type="none" w="med" len="med"/>
            </a:ln>
          </p:spPr>
          <p:style>
            <a:lnRef idx="1">
              <a:schemeClr val="accent1"/>
            </a:lnRef>
            <a:fillRef idx="0">
              <a:schemeClr val="accent1"/>
            </a:fillRef>
            <a:effectRef idx="0">
              <a:schemeClr val="accent1"/>
            </a:effectRef>
            <a:fontRef idx="minor">
              <a:schemeClr val="tx1"/>
            </a:fontRef>
          </p:style>
        </p:cxnSp>
        <p:sp>
          <p:nvSpPr>
            <p:cNvPr id="53" name="Textbox">
              <a:extLst>
                <a:ext uri="{FF2B5EF4-FFF2-40B4-BE49-F238E27FC236}">
                  <a16:creationId xmlns:a16="http://schemas.microsoft.com/office/drawing/2014/main" id="{7B73E3EE-3717-D9D8-2BAC-8D1CC5964778}"/>
                </a:ext>
              </a:extLst>
            </p:cNvPr>
            <p:cNvSpPr txBox="1">
              <a:spLocks/>
            </p:cNvSpPr>
            <p:nvPr>
              <p:custDataLst>
                <p:tags r:id="rId17"/>
              </p:custDataLst>
            </p:nvPr>
          </p:nvSpPr>
          <p:spPr>
            <a:xfrm>
              <a:off x="6140601" y="4988561"/>
              <a:ext cx="604333" cy="153756"/>
            </a:xfrm>
            <a:prstGeom prst="rect">
              <a:avLst/>
            </a:prstGeom>
            <a:noFill/>
            <a:extLst>
              <a:ext uri="{909E8E84-426E-40DD-AFC4-6F175D3DCCD1}">
                <a14:hiddenFill xmlns:a14="http://schemas.microsoft.com/office/drawing/2010/main">
                  <a:solidFill>
                    <a:srgbClr val="001A54"/>
                  </a:solidFill>
                </a14:hiddenFill>
              </a:ext>
            </a:extLst>
          </p:spPr>
          <p:txBody>
            <a:bodyPr vert="horz" wrap="none" lIns="0" tIns="0" rIns="0" bIns="36000" rtlCol="0">
              <a:spAutoFit/>
            </a:bodyPr>
            <a:lstStyle>
              <a:lvl1pPr marL="0" indent="0" algn="l" defTabSz="863995" rtl="0" eaLnBrk="1" latinLnBrk="0" hangingPunct="1">
                <a:lnSpc>
                  <a:spcPct val="120000"/>
                </a:lnSpc>
                <a:spcBef>
                  <a:spcPts val="1600"/>
                </a:spcBef>
                <a:spcAft>
                  <a:spcPts val="0"/>
                </a:spcAft>
                <a:buClr>
                  <a:schemeClr val="tx1"/>
                </a:buClr>
                <a:buFontTx/>
                <a:buNone/>
                <a:defRPr sz="1600" b="1" i="0" kern="1200">
                  <a:solidFill>
                    <a:srgbClr val="001A54"/>
                  </a:solidFill>
                  <a:latin typeface="+mn-lt"/>
                  <a:ea typeface="Aktiv Grotesk" panose="020B0504020202020204" pitchFamily="34" charset="0"/>
                  <a:cs typeface="Arial" panose="020B0604020202020204" pitchFamily="34" charset="0"/>
                </a:defRPr>
              </a:lvl1pPr>
              <a:lvl2pPr marL="0" indent="0" algn="l" defTabSz="863995" rtl="0" eaLnBrk="1" latinLnBrk="0" hangingPunct="1">
                <a:lnSpc>
                  <a:spcPct val="120000"/>
                </a:lnSpc>
                <a:spcBef>
                  <a:spcPts val="800"/>
                </a:spcBef>
                <a:spcAft>
                  <a:spcPts val="0"/>
                </a:spcAft>
                <a:buClr>
                  <a:schemeClr val="tx1"/>
                </a:buClr>
                <a:buFontTx/>
                <a:buNone/>
                <a:defRPr sz="1600" b="0" i="0" kern="1200">
                  <a:solidFill>
                    <a:srgbClr val="001A54"/>
                  </a:solidFill>
                  <a:latin typeface="+mn-lt"/>
                  <a:ea typeface="Aktiv Grotesk" panose="020B0504020202020204" pitchFamily="34" charset="0"/>
                  <a:cs typeface="Arial" panose="020B0604020202020204" pitchFamily="34" charset="0"/>
                </a:defRPr>
              </a:lvl2pPr>
              <a:lvl3pPr marL="180000" indent="-179388" algn="l" defTabSz="863995" rtl="0" eaLnBrk="1" latinLnBrk="0" hangingPunct="1">
                <a:lnSpc>
                  <a:spcPct val="120000"/>
                </a:lnSpc>
                <a:spcBef>
                  <a:spcPts val="800"/>
                </a:spcBef>
                <a:spcAft>
                  <a:spcPts val="0"/>
                </a:spcAft>
                <a:buClrTx/>
                <a:buFont typeface="Arial" panose="020B0604020202020204" pitchFamily="34" charset="0"/>
                <a:buChar char="•"/>
                <a:defRPr sz="1600" b="0" i="0" kern="1200">
                  <a:solidFill>
                    <a:srgbClr val="001A54"/>
                  </a:solidFill>
                  <a:latin typeface="+mn-lt"/>
                  <a:ea typeface="Aktiv Grotesk" panose="020B0504020202020204" pitchFamily="34" charset="0"/>
                  <a:cs typeface="Arial" panose="020B0604020202020204" pitchFamily="34" charset="0"/>
                </a:defRPr>
              </a:lvl3pPr>
              <a:lvl4pPr marL="360000" indent="-180000" algn="l" defTabSz="863995" rtl="0" eaLnBrk="1" latinLnBrk="0" hangingPunct="1">
                <a:lnSpc>
                  <a:spcPct val="120000"/>
                </a:lnSpc>
                <a:spcBef>
                  <a:spcPts val="800"/>
                </a:spcBef>
                <a:spcAft>
                  <a:spcPts val="0"/>
                </a:spcAft>
                <a:buClrTx/>
                <a:buFont typeface="Arial" panose="020B0604020202020204" pitchFamily="34" charset="0"/>
                <a:buChar char="•"/>
                <a:defRPr sz="1600" b="0" i="0" kern="1200">
                  <a:solidFill>
                    <a:srgbClr val="001A54"/>
                  </a:solidFill>
                  <a:latin typeface="+mn-lt"/>
                  <a:ea typeface="Aktiv Grotesk" panose="020B0504020202020204" pitchFamily="34" charset="0"/>
                  <a:cs typeface="Arial" panose="020B0604020202020204" pitchFamily="34" charset="0"/>
                </a:defRPr>
              </a:lvl4pPr>
              <a:lvl5pPr marL="540000" indent="-180000" algn="l" defTabSz="863995" rtl="0" eaLnBrk="1" latinLnBrk="0" hangingPunct="1">
                <a:lnSpc>
                  <a:spcPct val="120000"/>
                </a:lnSpc>
                <a:spcBef>
                  <a:spcPts val="800"/>
                </a:spcBef>
                <a:spcAft>
                  <a:spcPts val="0"/>
                </a:spcAft>
                <a:buClrTx/>
                <a:buFont typeface="Arial" panose="020B0604020202020204" pitchFamily="34" charset="0"/>
                <a:buChar char="•"/>
                <a:defRPr sz="1600" b="0" i="0" kern="1200">
                  <a:solidFill>
                    <a:srgbClr val="001A54"/>
                  </a:solidFill>
                  <a:latin typeface="+mn-lt"/>
                  <a:ea typeface="Aktiv Grotesk" panose="020B0504020202020204" pitchFamily="34" charset="0"/>
                  <a:cs typeface="Arial" panose="020B0604020202020204" pitchFamily="34" charset="0"/>
                </a:defRPr>
              </a:lvl5pPr>
              <a:lvl6pPr marL="2375986" indent="-215998" algn="l" defTabSz="86399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6pPr>
              <a:lvl7pPr marL="2807984" indent="-215998" algn="l" defTabSz="86399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7pPr>
              <a:lvl8pPr marL="3239981" indent="-215998" algn="l" defTabSz="86399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8pPr>
              <a:lvl9pPr marL="3671979" indent="-215998" algn="l" defTabSz="86399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9pPr>
            </a:lstStyle>
            <a:p>
              <a:pPr marL="0" marR="0" lvl="0" indent="0" algn="l" defTabSz="863995" rtl="0" eaLnBrk="1" fontAlgn="auto" latinLnBrk="0" hangingPunct="1">
                <a:lnSpc>
                  <a:spcPct val="120000"/>
                </a:lnSpc>
                <a:spcBef>
                  <a:spcPts val="800"/>
                </a:spcBef>
                <a:spcAft>
                  <a:spcPts val="0"/>
                </a:spcAft>
                <a:buClr>
                  <a:srgbClr val="001A54"/>
                </a:buClr>
                <a:buSzTx/>
                <a:buFontTx/>
                <a:buNone/>
                <a:tabLst/>
                <a:defRPr/>
              </a:pPr>
              <a:r>
                <a:rPr kumimoji="0" lang="en" sz="700" b="0" i="0" u="none" strike="noStrike" kern="1200" cap="none" spc="0" normalizeH="0" baseline="0" noProof="0">
                  <a:ln>
                    <a:noFill/>
                  </a:ln>
                  <a:solidFill>
                    <a:srgbClr val="001A54"/>
                  </a:solidFill>
                  <a:effectLst/>
                  <a:uLnTx/>
                  <a:uFillTx/>
                  <a:latin typeface="Arial" panose="020B0604020202020204"/>
                  <a:cs typeface="Arial" panose="020B0604020202020204" pitchFamily="34" charset="0"/>
                </a:rPr>
                <a:t>new types 1/24</a:t>
              </a:r>
            </a:p>
          </p:txBody>
        </p:sp>
        <p:cxnSp>
          <p:nvCxnSpPr>
            <p:cNvPr id="54" name="Gerader Verbinder 53">
              <a:extLst>
                <a:ext uri="{FF2B5EF4-FFF2-40B4-BE49-F238E27FC236}">
                  <a16:creationId xmlns:a16="http://schemas.microsoft.com/office/drawing/2014/main" id="{A6EE9D48-2D56-9753-7D07-AB32FBC35347}"/>
                </a:ext>
              </a:extLst>
            </p:cNvPr>
            <p:cNvCxnSpPr>
              <a:cxnSpLocks/>
            </p:cNvCxnSpPr>
            <p:nvPr/>
          </p:nvCxnSpPr>
          <p:spPr>
            <a:xfrm>
              <a:off x="8019694" y="5142317"/>
              <a:ext cx="2950833" cy="0"/>
            </a:xfrm>
            <a:prstGeom prst="line">
              <a:avLst/>
            </a:prstGeom>
            <a:ln w="19050" cmpd="sng">
              <a:solidFill>
                <a:srgbClr val="001A54"/>
              </a:solidFill>
              <a:prstDash val="solid"/>
              <a:headEnd type="oval"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5" name="Textbox">
              <a:extLst>
                <a:ext uri="{FF2B5EF4-FFF2-40B4-BE49-F238E27FC236}">
                  <a16:creationId xmlns:a16="http://schemas.microsoft.com/office/drawing/2014/main" id="{13506A52-35CD-0A09-F865-CF95F89CCD0E}"/>
                </a:ext>
              </a:extLst>
            </p:cNvPr>
            <p:cNvSpPr txBox="1">
              <a:spLocks/>
            </p:cNvSpPr>
            <p:nvPr>
              <p:custDataLst>
                <p:tags r:id="rId18"/>
              </p:custDataLst>
            </p:nvPr>
          </p:nvSpPr>
          <p:spPr>
            <a:xfrm>
              <a:off x="8019694" y="4988561"/>
              <a:ext cx="1035540" cy="153756"/>
            </a:xfrm>
            <a:prstGeom prst="rect">
              <a:avLst/>
            </a:prstGeom>
            <a:noFill/>
            <a:extLst>
              <a:ext uri="{909E8E84-426E-40DD-AFC4-6F175D3DCCD1}">
                <a14:hiddenFill xmlns:a14="http://schemas.microsoft.com/office/drawing/2010/main">
                  <a:solidFill>
                    <a:srgbClr val="001A54"/>
                  </a:solidFill>
                </a14:hiddenFill>
              </a:ext>
            </a:extLst>
          </p:spPr>
          <p:txBody>
            <a:bodyPr vert="horz" wrap="none" lIns="0" tIns="0" rIns="0" bIns="36000" rtlCol="0">
              <a:spAutoFit/>
            </a:bodyPr>
            <a:lstStyle>
              <a:lvl1pPr marL="0" indent="0" algn="l" defTabSz="863995" rtl="0" eaLnBrk="1" latinLnBrk="0" hangingPunct="1">
                <a:lnSpc>
                  <a:spcPct val="120000"/>
                </a:lnSpc>
                <a:spcBef>
                  <a:spcPts val="1600"/>
                </a:spcBef>
                <a:spcAft>
                  <a:spcPts val="0"/>
                </a:spcAft>
                <a:buClr>
                  <a:schemeClr val="tx1"/>
                </a:buClr>
                <a:buFontTx/>
                <a:buNone/>
                <a:defRPr sz="1600" b="1" i="0" kern="1200">
                  <a:solidFill>
                    <a:srgbClr val="001A54"/>
                  </a:solidFill>
                  <a:latin typeface="+mn-lt"/>
                  <a:ea typeface="Aktiv Grotesk" panose="020B0504020202020204" pitchFamily="34" charset="0"/>
                  <a:cs typeface="Arial" panose="020B0604020202020204" pitchFamily="34" charset="0"/>
                </a:defRPr>
              </a:lvl1pPr>
              <a:lvl2pPr marL="0" indent="0" algn="l" defTabSz="863995" rtl="0" eaLnBrk="1" latinLnBrk="0" hangingPunct="1">
                <a:lnSpc>
                  <a:spcPct val="120000"/>
                </a:lnSpc>
                <a:spcBef>
                  <a:spcPts val="800"/>
                </a:spcBef>
                <a:spcAft>
                  <a:spcPts val="0"/>
                </a:spcAft>
                <a:buClr>
                  <a:schemeClr val="tx1"/>
                </a:buClr>
                <a:buFontTx/>
                <a:buNone/>
                <a:defRPr sz="1600" b="0" i="0" kern="1200">
                  <a:solidFill>
                    <a:srgbClr val="001A54"/>
                  </a:solidFill>
                  <a:latin typeface="+mn-lt"/>
                  <a:ea typeface="Aktiv Grotesk" panose="020B0504020202020204" pitchFamily="34" charset="0"/>
                  <a:cs typeface="Arial" panose="020B0604020202020204" pitchFamily="34" charset="0"/>
                </a:defRPr>
              </a:lvl2pPr>
              <a:lvl3pPr marL="180000" indent="-179388" algn="l" defTabSz="863995" rtl="0" eaLnBrk="1" latinLnBrk="0" hangingPunct="1">
                <a:lnSpc>
                  <a:spcPct val="120000"/>
                </a:lnSpc>
                <a:spcBef>
                  <a:spcPts val="800"/>
                </a:spcBef>
                <a:spcAft>
                  <a:spcPts val="0"/>
                </a:spcAft>
                <a:buClrTx/>
                <a:buFont typeface="Arial" panose="020B0604020202020204" pitchFamily="34" charset="0"/>
                <a:buChar char="•"/>
                <a:defRPr sz="1600" b="0" i="0" kern="1200">
                  <a:solidFill>
                    <a:srgbClr val="001A54"/>
                  </a:solidFill>
                  <a:latin typeface="+mn-lt"/>
                  <a:ea typeface="Aktiv Grotesk" panose="020B0504020202020204" pitchFamily="34" charset="0"/>
                  <a:cs typeface="Arial" panose="020B0604020202020204" pitchFamily="34" charset="0"/>
                </a:defRPr>
              </a:lvl3pPr>
              <a:lvl4pPr marL="360000" indent="-180000" algn="l" defTabSz="863995" rtl="0" eaLnBrk="1" latinLnBrk="0" hangingPunct="1">
                <a:lnSpc>
                  <a:spcPct val="120000"/>
                </a:lnSpc>
                <a:spcBef>
                  <a:spcPts val="800"/>
                </a:spcBef>
                <a:spcAft>
                  <a:spcPts val="0"/>
                </a:spcAft>
                <a:buClrTx/>
                <a:buFont typeface="Arial" panose="020B0604020202020204" pitchFamily="34" charset="0"/>
                <a:buChar char="•"/>
                <a:defRPr sz="1600" b="0" i="0" kern="1200">
                  <a:solidFill>
                    <a:srgbClr val="001A54"/>
                  </a:solidFill>
                  <a:latin typeface="+mn-lt"/>
                  <a:ea typeface="Aktiv Grotesk" panose="020B0504020202020204" pitchFamily="34" charset="0"/>
                  <a:cs typeface="Arial" panose="020B0604020202020204" pitchFamily="34" charset="0"/>
                </a:defRPr>
              </a:lvl4pPr>
              <a:lvl5pPr marL="540000" indent="-180000" algn="l" defTabSz="863995" rtl="0" eaLnBrk="1" latinLnBrk="0" hangingPunct="1">
                <a:lnSpc>
                  <a:spcPct val="120000"/>
                </a:lnSpc>
                <a:spcBef>
                  <a:spcPts val="800"/>
                </a:spcBef>
                <a:spcAft>
                  <a:spcPts val="0"/>
                </a:spcAft>
                <a:buClrTx/>
                <a:buFont typeface="Arial" panose="020B0604020202020204" pitchFamily="34" charset="0"/>
                <a:buChar char="•"/>
                <a:defRPr sz="1600" b="0" i="0" kern="1200">
                  <a:solidFill>
                    <a:srgbClr val="001A54"/>
                  </a:solidFill>
                  <a:latin typeface="+mn-lt"/>
                  <a:ea typeface="Aktiv Grotesk" panose="020B0504020202020204" pitchFamily="34" charset="0"/>
                  <a:cs typeface="Arial" panose="020B0604020202020204" pitchFamily="34" charset="0"/>
                </a:defRPr>
              </a:lvl5pPr>
              <a:lvl6pPr marL="2375986" indent="-215998" algn="l" defTabSz="86399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6pPr>
              <a:lvl7pPr marL="2807984" indent="-215998" algn="l" defTabSz="86399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7pPr>
              <a:lvl8pPr marL="3239981" indent="-215998" algn="l" defTabSz="86399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8pPr>
              <a:lvl9pPr marL="3671979" indent="-215998" algn="l" defTabSz="86399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9pPr>
            </a:lstStyle>
            <a:p>
              <a:pPr marL="0" marR="0" lvl="0" indent="0" algn="l" defTabSz="863995" rtl="0" eaLnBrk="1" fontAlgn="auto" latinLnBrk="0" hangingPunct="1">
                <a:lnSpc>
                  <a:spcPct val="120000"/>
                </a:lnSpc>
                <a:spcBef>
                  <a:spcPts val="800"/>
                </a:spcBef>
                <a:spcAft>
                  <a:spcPts val="0"/>
                </a:spcAft>
                <a:buClr>
                  <a:srgbClr val="001A54"/>
                </a:buClr>
                <a:buSzTx/>
                <a:buFontTx/>
                <a:buNone/>
                <a:tabLst/>
                <a:defRPr/>
              </a:pPr>
              <a:r>
                <a:rPr kumimoji="0" lang="en" sz="700" b="0" i="0" u="none" strike="noStrike" kern="1200" cap="none" spc="0" normalizeH="0" baseline="0" noProof="0">
                  <a:ln>
                    <a:noFill/>
                  </a:ln>
                  <a:solidFill>
                    <a:srgbClr val="001A54"/>
                  </a:solidFill>
                  <a:effectLst/>
                  <a:uLnTx/>
                  <a:uFillTx/>
                  <a:latin typeface="Arial" panose="020B0604020202020204"/>
                  <a:cs typeface="Arial" panose="020B0604020202020204" pitchFamily="34" charset="0"/>
                </a:rPr>
                <a:t>all vehicles produced 5/26</a:t>
              </a:r>
            </a:p>
          </p:txBody>
        </p:sp>
        <p:cxnSp>
          <p:nvCxnSpPr>
            <p:cNvPr id="57" name="Gerader Verbinder 56">
              <a:extLst>
                <a:ext uri="{FF2B5EF4-FFF2-40B4-BE49-F238E27FC236}">
                  <a16:creationId xmlns:a16="http://schemas.microsoft.com/office/drawing/2014/main" id="{33EB0661-1975-F1DC-DA3E-D2E4C3983F0E}"/>
                </a:ext>
              </a:extLst>
            </p:cNvPr>
            <p:cNvCxnSpPr>
              <a:cxnSpLocks/>
            </p:cNvCxnSpPr>
            <p:nvPr/>
          </p:nvCxnSpPr>
          <p:spPr>
            <a:xfrm>
              <a:off x="5909103" y="3990189"/>
              <a:ext cx="432000" cy="0"/>
            </a:xfrm>
            <a:prstGeom prst="line">
              <a:avLst/>
            </a:prstGeom>
            <a:ln w="19050" cmpd="sng">
              <a:solidFill>
                <a:srgbClr val="001A54"/>
              </a:solidFill>
              <a:prstDash val="solid"/>
              <a:headEnd type="oval"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8" name="Gerader Verbinder 57">
              <a:extLst>
                <a:ext uri="{FF2B5EF4-FFF2-40B4-BE49-F238E27FC236}">
                  <a16:creationId xmlns:a16="http://schemas.microsoft.com/office/drawing/2014/main" id="{ECFDE410-9609-4A24-24FA-4E8548CA9E5B}"/>
                </a:ext>
              </a:extLst>
            </p:cNvPr>
            <p:cNvCxnSpPr>
              <a:cxnSpLocks/>
            </p:cNvCxnSpPr>
            <p:nvPr/>
          </p:nvCxnSpPr>
          <p:spPr>
            <a:xfrm>
              <a:off x="6317288" y="3990189"/>
              <a:ext cx="4644000" cy="0"/>
            </a:xfrm>
            <a:prstGeom prst="line">
              <a:avLst/>
            </a:prstGeom>
            <a:ln w="19050" cmpd="sng">
              <a:solidFill>
                <a:srgbClr val="001A54"/>
              </a:solidFill>
              <a:prstDash val="solid"/>
              <a:headEnd type="oval"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9" name="Textbox">
              <a:extLst>
                <a:ext uri="{FF2B5EF4-FFF2-40B4-BE49-F238E27FC236}">
                  <a16:creationId xmlns:a16="http://schemas.microsoft.com/office/drawing/2014/main" id="{ED2EF5AE-B2DB-76CC-0F4E-8053CA49656B}"/>
                </a:ext>
              </a:extLst>
            </p:cNvPr>
            <p:cNvSpPr txBox="1">
              <a:spLocks/>
            </p:cNvSpPr>
            <p:nvPr>
              <p:custDataLst>
                <p:tags r:id="rId19"/>
              </p:custDataLst>
            </p:nvPr>
          </p:nvSpPr>
          <p:spPr>
            <a:xfrm>
              <a:off x="6317288" y="3836433"/>
              <a:ext cx="495328" cy="153756"/>
            </a:xfrm>
            <a:prstGeom prst="rect">
              <a:avLst/>
            </a:prstGeom>
            <a:noFill/>
            <a:extLst>
              <a:ext uri="{909E8E84-426E-40DD-AFC4-6F175D3DCCD1}">
                <a14:hiddenFill xmlns:a14="http://schemas.microsoft.com/office/drawing/2010/main">
                  <a:solidFill>
                    <a:srgbClr val="001A54"/>
                  </a:solidFill>
                </a14:hiddenFill>
              </a:ext>
            </a:extLst>
          </p:spPr>
          <p:txBody>
            <a:bodyPr vert="horz" wrap="none" lIns="0" tIns="0" rIns="0" bIns="36000" rtlCol="0">
              <a:spAutoFit/>
            </a:bodyPr>
            <a:lstStyle>
              <a:lvl1pPr marL="0" indent="0" algn="l" defTabSz="863995" rtl="0" eaLnBrk="1" latinLnBrk="0" hangingPunct="1">
                <a:lnSpc>
                  <a:spcPct val="120000"/>
                </a:lnSpc>
                <a:spcBef>
                  <a:spcPts val="1600"/>
                </a:spcBef>
                <a:spcAft>
                  <a:spcPts val="0"/>
                </a:spcAft>
                <a:buClr>
                  <a:schemeClr val="tx1"/>
                </a:buClr>
                <a:buFontTx/>
                <a:buNone/>
                <a:defRPr sz="1600" b="1" i="0" kern="1200">
                  <a:solidFill>
                    <a:srgbClr val="001A54"/>
                  </a:solidFill>
                  <a:latin typeface="+mn-lt"/>
                  <a:ea typeface="Aktiv Grotesk" panose="020B0504020202020204" pitchFamily="34" charset="0"/>
                  <a:cs typeface="Arial" panose="020B0604020202020204" pitchFamily="34" charset="0"/>
                </a:defRPr>
              </a:lvl1pPr>
              <a:lvl2pPr marL="0" indent="0" algn="l" defTabSz="863995" rtl="0" eaLnBrk="1" latinLnBrk="0" hangingPunct="1">
                <a:lnSpc>
                  <a:spcPct val="120000"/>
                </a:lnSpc>
                <a:spcBef>
                  <a:spcPts val="800"/>
                </a:spcBef>
                <a:spcAft>
                  <a:spcPts val="0"/>
                </a:spcAft>
                <a:buClr>
                  <a:schemeClr val="tx1"/>
                </a:buClr>
                <a:buFontTx/>
                <a:buNone/>
                <a:defRPr sz="1600" b="0" i="0" kern="1200">
                  <a:solidFill>
                    <a:srgbClr val="001A54"/>
                  </a:solidFill>
                  <a:latin typeface="+mn-lt"/>
                  <a:ea typeface="Aktiv Grotesk" panose="020B0504020202020204" pitchFamily="34" charset="0"/>
                  <a:cs typeface="Arial" panose="020B0604020202020204" pitchFamily="34" charset="0"/>
                </a:defRPr>
              </a:lvl2pPr>
              <a:lvl3pPr marL="180000" indent="-179388" algn="l" defTabSz="863995" rtl="0" eaLnBrk="1" latinLnBrk="0" hangingPunct="1">
                <a:lnSpc>
                  <a:spcPct val="120000"/>
                </a:lnSpc>
                <a:spcBef>
                  <a:spcPts val="800"/>
                </a:spcBef>
                <a:spcAft>
                  <a:spcPts val="0"/>
                </a:spcAft>
                <a:buClrTx/>
                <a:buFont typeface="Arial" panose="020B0604020202020204" pitchFamily="34" charset="0"/>
                <a:buChar char="•"/>
                <a:defRPr sz="1600" b="0" i="0" kern="1200">
                  <a:solidFill>
                    <a:srgbClr val="001A54"/>
                  </a:solidFill>
                  <a:latin typeface="+mn-lt"/>
                  <a:ea typeface="Aktiv Grotesk" panose="020B0504020202020204" pitchFamily="34" charset="0"/>
                  <a:cs typeface="Arial" panose="020B0604020202020204" pitchFamily="34" charset="0"/>
                </a:defRPr>
              </a:lvl3pPr>
              <a:lvl4pPr marL="360000" indent="-180000" algn="l" defTabSz="863995" rtl="0" eaLnBrk="1" latinLnBrk="0" hangingPunct="1">
                <a:lnSpc>
                  <a:spcPct val="120000"/>
                </a:lnSpc>
                <a:spcBef>
                  <a:spcPts val="800"/>
                </a:spcBef>
                <a:spcAft>
                  <a:spcPts val="0"/>
                </a:spcAft>
                <a:buClrTx/>
                <a:buFont typeface="Arial" panose="020B0604020202020204" pitchFamily="34" charset="0"/>
                <a:buChar char="•"/>
                <a:defRPr sz="1600" b="0" i="0" kern="1200">
                  <a:solidFill>
                    <a:srgbClr val="001A54"/>
                  </a:solidFill>
                  <a:latin typeface="+mn-lt"/>
                  <a:ea typeface="Aktiv Grotesk" panose="020B0504020202020204" pitchFamily="34" charset="0"/>
                  <a:cs typeface="Arial" panose="020B0604020202020204" pitchFamily="34" charset="0"/>
                </a:defRPr>
              </a:lvl4pPr>
              <a:lvl5pPr marL="540000" indent="-180000" algn="l" defTabSz="863995" rtl="0" eaLnBrk="1" latinLnBrk="0" hangingPunct="1">
                <a:lnSpc>
                  <a:spcPct val="120000"/>
                </a:lnSpc>
                <a:spcBef>
                  <a:spcPts val="800"/>
                </a:spcBef>
                <a:spcAft>
                  <a:spcPts val="0"/>
                </a:spcAft>
                <a:buClrTx/>
                <a:buFont typeface="Arial" panose="020B0604020202020204" pitchFamily="34" charset="0"/>
                <a:buChar char="•"/>
                <a:defRPr sz="1600" b="0" i="0" kern="1200">
                  <a:solidFill>
                    <a:srgbClr val="001A54"/>
                  </a:solidFill>
                  <a:latin typeface="+mn-lt"/>
                  <a:ea typeface="Aktiv Grotesk" panose="020B0504020202020204" pitchFamily="34" charset="0"/>
                  <a:cs typeface="Arial" panose="020B0604020202020204" pitchFamily="34" charset="0"/>
                </a:defRPr>
              </a:lvl5pPr>
              <a:lvl6pPr marL="2375986" indent="-215998" algn="l" defTabSz="86399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6pPr>
              <a:lvl7pPr marL="2807984" indent="-215998" algn="l" defTabSz="86399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7pPr>
              <a:lvl8pPr marL="3239981" indent="-215998" algn="l" defTabSz="86399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8pPr>
              <a:lvl9pPr marL="3671979" indent="-215998" algn="l" defTabSz="86399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9pPr>
            </a:lstStyle>
            <a:p>
              <a:pPr marL="0" marR="0" lvl="0" indent="0" algn="l" defTabSz="863995" rtl="0" eaLnBrk="1" fontAlgn="auto" latinLnBrk="0" hangingPunct="1">
                <a:lnSpc>
                  <a:spcPct val="120000"/>
                </a:lnSpc>
                <a:spcBef>
                  <a:spcPts val="800"/>
                </a:spcBef>
                <a:spcAft>
                  <a:spcPts val="0"/>
                </a:spcAft>
                <a:buClr>
                  <a:srgbClr val="001A54"/>
                </a:buClr>
                <a:buSzTx/>
                <a:buFontTx/>
                <a:buNone/>
                <a:tabLst/>
                <a:defRPr/>
              </a:pPr>
              <a:r>
                <a:rPr kumimoji="0" lang="en" sz="700" b="0" i="0" u="none" strike="noStrike" kern="1200" cap="none" spc="0" normalizeH="0" baseline="0" noProof="0">
                  <a:ln>
                    <a:noFill/>
                  </a:ln>
                  <a:solidFill>
                    <a:srgbClr val="001A54"/>
                  </a:solidFill>
                  <a:effectLst/>
                  <a:uLnTx/>
                  <a:uFillTx/>
                  <a:latin typeface="Arial" panose="020B0604020202020204"/>
                  <a:cs typeface="Arial" panose="020B0604020202020204" pitchFamily="34" charset="0"/>
                </a:rPr>
                <a:t>in force 4/24</a:t>
              </a:r>
            </a:p>
          </p:txBody>
        </p:sp>
        <p:sp>
          <p:nvSpPr>
            <p:cNvPr id="60" name="Textbox">
              <a:extLst>
                <a:ext uri="{FF2B5EF4-FFF2-40B4-BE49-F238E27FC236}">
                  <a16:creationId xmlns:a16="http://schemas.microsoft.com/office/drawing/2014/main" id="{11086CFB-62E7-1F93-E082-BB21C7320B5F}"/>
                </a:ext>
              </a:extLst>
            </p:cNvPr>
            <p:cNvSpPr txBox="1">
              <a:spLocks/>
            </p:cNvSpPr>
            <p:nvPr>
              <p:custDataLst>
                <p:tags r:id="rId20"/>
              </p:custDataLst>
            </p:nvPr>
          </p:nvSpPr>
          <p:spPr>
            <a:xfrm>
              <a:off x="5909103" y="3836433"/>
              <a:ext cx="333425" cy="153756"/>
            </a:xfrm>
            <a:prstGeom prst="rect">
              <a:avLst/>
            </a:prstGeom>
            <a:noFill/>
            <a:extLst>
              <a:ext uri="{909E8E84-426E-40DD-AFC4-6F175D3DCCD1}">
                <a14:hiddenFill xmlns:a14="http://schemas.microsoft.com/office/drawing/2010/main">
                  <a:solidFill>
                    <a:srgbClr val="001A54"/>
                  </a:solidFill>
                </a14:hiddenFill>
              </a:ext>
            </a:extLst>
          </p:spPr>
          <p:txBody>
            <a:bodyPr vert="horz" wrap="none" lIns="0" tIns="0" rIns="0" bIns="36000" rtlCol="0">
              <a:spAutoFit/>
            </a:bodyPr>
            <a:lstStyle>
              <a:lvl1pPr marL="0" indent="0" algn="l" defTabSz="863995" rtl="0" eaLnBrk="1" latinLnBrk="0" hangingPunct="1">
                <a:lnSpc>
                  <a:spcPct val="120000"/>
                </a:lnSpc>
                <a:spcBef>
                  <a:spcPts val="1600"/>
                </a:spcBef>
                <a:spcAft>
                  <a:spcPts val="0"/>
                </a:spcAft>
                <a:buClr>
                  <a:schemeClr val="tx1"/>
                </a:buClr>
                <a:buFontTx/>
                <a:buNone/>
                <a:defRPr sz="1600" b="1" i="0" kern="1200">
                  <a:solidFill>
                    <a:srgbClr val="001A54"/>
                  </a:solidFill>
                  <a:latin typeface="+mn-lt"/>
                  <a:ea typeface="Aktiv Grotesk" panose="020B0504020202020204" pitchFamily="34" charset="0"/>
                  <a:cs typeface="Arial" panose="020B0604020202020204" pitchFamily="34" charset="0"/>
                </a:defRPr>
              </a:lvl1pPr>
              <a:lvl2pPr marL="0" indent="0" algn="l" defTabSz="863995" rtl="0" eaLnBrk="1" latinLnBrk="0" hangingPunct="1">
                <a:lnSpc>
                  <a:spcPct val="120000"/>
                </a:lnSpc>
                <a:spcBef>
                  <a:spcPts val="800"/>
                </a:spcBef>
                <a:spcAft>
                  <a:spcPts val="0"/>
                </a:spcAft>
                <a:buClr>
                  <a:schemeClr val="tx1"/>
                </a:buClr>
                <a:buFontTx/>
                <a:buNone/>
                <a:defRPr sz="1600" b="0" i="0" kern="1200">
                  <a:solidFill>
                    <a:srgbClr val="001A54"/>
                  </a:solidFill>
                  <a:latin typeface="+mn-lt"/>
                  <a:ea typeface="Aktiv Grotesk" panose="020B0504020202020204" pitchFamily="34" charset="0"/>
                  <a:cs typeface="Arial" panose="020B0604020202020204" pitchFamily="34" charset="0"/>
                </a:defRPr>
              </a:lvl2pPr>
              <a:lvl3pPr marL="180000" indent="-179388" algn="l" defTabSz="863995" rtl="0" eaLnBrk="1" latinLnBrk="0" hangingPunct="1">
                <a:lnSpc>
                  <a:spcPct val="120000"/>
                </a:lnSpc>
                <a:spcBef>
                  <a:spcPts val="800"/>
                </a:spcBef>
                <a:spcAft>
                  <a:spcPts val="0"/>
                </a:spcAft>
                <a:buClrTx/>
                <a:buFont typeface="Arial" panose="020B0604020202020204" pitchFamily="34" charset="0"/>
                <a:buChar char="•"/>
                <a:defRPr sz="1600" b="0" i="0" kern="1200">
                  <a:solidFill>
                    <a:srgbClr val="001A54"/>
                  </a:solidFill>
                  <a:latin typeface="+mn-lt"/>
                  <a:ea typeface="Aktiv Grotesk" panose="020B0504020202020204" pitchFamily="34" charset="0"/>
                  <a:cs typeface="Arial" panose="020B0604020202020204" pitchFamily="34" charset="0"/>
                </a:defRPr>
              </a:lvl3pPr>
              <a:lvl4pPr marL="360000" indent="-180000" algn="l" defTabSz="863995" rtl="0" eaLnBrk="1" latinLnBrk="0" hangingPunct="1">
                <a:lnSpc>
                  <a:spcPct val="120000"/>
                </a:lnSpc>
                <a:spcBef>
                  <a:spcPts val="800"/>
                </a:spcBef>
                <a:spcAft>
                  <a:spcPts val="0"/>
                </a:spcAft>
                <a:buClrTx/>
                <a:buFont typeface="Arial" panose="020B0604020202020204" pitchFamily="34" charset="0"/>
                <a:buChar char="•"/>
                <a:defRPr sz="1600" b="0" i="0" kern="1200">
                  <a:solidFill>
                    <a:srgbClr val="001A54"/>
                  </a:solidFill>
                  <a:latin typeface="+mn-lt"/>
                  <a:ea typeface="Aktiv Grotesk" panose="020B0504020202020204" pitchFamily="34" charset="0"/>
                  <a:cs typeface="Arial" panose="020B0604020202020204" pitchFamily="34" charset="0"/>
                </a:defRPr>
              </a:lvl4pPr>
              <a:lvl5pPr marL="540000" indent="-180000" algn="l" defTabSz="863995" rtl="0" eaLnBrk="1" latinLnBrk="0" hangingPunct="1">
                <a:lnSpc>
                  <a:spcPct val="120000"/>
                </a:lnSpc>
                <a:spcBef>
                  <a:spcPts val="800"/>
                </a:spcBef>
                <a:spcAft>
                  <a:spcPts val="0"/>
                </a:spcAft>
                <a:buClrTx/>
                <a:buFont typeface="Arial" panose="020B0604020202020204" pitchFamily="34" charset="0"/>
                <a:buChar char="•"/>
                <a:defRPr sz="1600" b="0" i="0" kern="1200">
                  <a:solidFill>
                    <a:srgbClr val="001A54"/>
                  </a:solidFill>
                  <a:latin typeface="+mn-lt"/>
                  <a:ea typeface="Aktiv Grotesk" panose="020B0504020202020204" pitchFamily="34" charset="0"/>
                  <a:cs typeface="Arial" panose="020B0604020202020204" pitchFamily="34" charset="0"/>
                </a:defRPr>
              </a:lvl5pPr>
              <a:lvl6pPr marL="2375986" indent="-215998" algn="l" defTabSz="86399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6pPr>
              <a:lvl7pPr marL="2807984" indent="-215998" algn="l" defTabSz="86399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7pPr>
              <a:lvl8pPr marL="3239981" indent="-215998" algn="l" defTabSz="86399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8pPr>
              <a:lvl9pPr marL="3671979" indent="-215998" algn="l" defTabSz="86399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9pPr>
            </a:lstStyle>
            <a:p>
              <a:pPr marL="0" marR="0" lvl="0" indent="0" algn="l" defTabSz="863995" rtl="0" eaLnBrk="1" fontAlgn="auto" latinLnBrk="0" hangingPunct="1">
                <a:lnSpc>
                  <a:spcPct val="120000"/>
                </a:lnSpc>
                <a:spcBef>
                  <a:spcPts val="800"/>
                </a:spcBef>
                <a:spcAft>
                  <a:spcPts val="0"/>
                </a:spcAft>
                <a:buClr>
                  <a:srgbClr val="001A54"/>
                </a:buClr>
                <a:buSzTx/>
                <a:buFontTx/>
                <a:buNone/>
                <a:tabLst/>
                <a:defRPr/>
              </a:pPr>
              <a:r>
                <a:rPr kumimoji="0" lang="en" sz="700" b="0" i="0" u="none" strike="noStrike" kern="1200" cap="none" spc="0" normalizeH="0" baseline="0" noProof="0">
                  <a:ln>
                    <a:noFill/>
                  </a:ln>
                  <a:solidFill>
                    <a:srgbClr val="001A54"/>
                  </a:solidFill>
                  <a:effectLst/>
                  <a:uLnTx/>
                  <a:uFillTx/>
                  <a:latin typeface="Arial" panose="020B0604020202020204"/>
                  <a:cs typeface="Arial" panose="020B0604020202020204" pitchFamily="34" charset="0"/>
                </a:rPr>
                <a:t>law 9/23</a:t>
              </a:r>
            </a:p>
          </p:txBody>
        </p:sp>
        <p:cxnSp>
          <p:nvCxnSpPr>
            <p:cNvPr id="61" name="Gerader Verbinder 60">
              <a:extLst>
                <a:ext uri="{FF2B5EF4-FFF2-40B4-BE49-F238E27FC236}">
                  <a16:creationId xmlns:a16="http://schemas.microsoft.com/office/drawing/2014/main" id="{74EEC4AD-9046-F1D3-8969-CB34821C4B20}"/>
                </a:ext>
              </a:extLst>
            </p:cNvPr>
            <p:cNvCxnSpPr>
              <a:cxnSpLocks/>
            </p:cNvCxnSpPr>
            <p:nvPr/>
          </p:nvCxnSpPr>
          <p:spPr>
            <a:xfrm>
              <a:off x="6946977" y="5564625"/>
              <a:ext cx="4023550" cy="0"/>
            </a:xfrm>
            <a:prstGeom prst="line">
              <a:avLst/>
            </a:prstGeom>
            <a:ln w="19050" cmpd="sng">
              <a:solidFill>
                <a:srgbClr val="001A54"/>
              </a:solidFill>
              <a:prstDash val="solid"/>
              <a:headEnd type="oval"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2" name="Textbox">
              <a:extLst>
                <a:ext uri="{FF2B5EF4-FFF2-40B4-BE49-F238E27FC236}">
                  <a16:creationId xmlns:a16="http://schemas.microsoft.com/office/drawing/2014/main" id="{DE280387-C738-0E94-9E1E-E97B4D1BE5DB}"/>
                </a:ext>
              </a:extLst>
            </p:cNvPr>
            <p:cNvSpPr txBox="1">
              <a:spLocks/>
            </p:cNvSpPr>
            <p:nvPr>
              <p:custDataLst>
                <p:tags r:id="rId21"/>
              </p:custDataLst>
            </p:nvPr>
          </p:nvSpPr>
          <p:spPr>
            <a:xfrm>
              <a:off x="6946977" y="5420609"/>
              <a:ext cx="793487" cy="153756"/>
            </a:xfrm>
            <a:prstGeom prst="rect">
              <a:avLst/>
            </a:prstGeom>
            <a:noFill/>
            <a:extLst>
              <a:ext uri="{909E8E84-426E-40DD-AFC4-6F175D3DCCD1}">
                <a14:hiddenFill xmlns:a14="http://schemas.microsoft.com/office/drawing/2010/main">
                  <a:solidFill>
                    <a:srgbClr val="001A54"/>
                  </a:solidFill>
                </a14:hiddenFill>
              </a:ext>
            </a:extLst>
          </p:spPr>
          <p:txBody>
            <a:bodyPr vert="horz" wrap="none" lIns="0" tIns="0" rIns="0" bIns="36000" rtlCol="0">
              <a:spAutoFit/>
            </a:bodyPr>
            <a:lstStyle>
              <a:lvl1pPr marL="0" indent="0" algn="l" defTabSz="863995" rtl="0" eaLnBrk="1" latinLnBrk="0" hangingPunct="1">
                <a:lnSpc>
                  <a:spcPct val="120000"/>
                </a:lnSpc>
                <a:spcBef>
                  <a:spcPts val="1600"/>
                </a:spcBef>
                <a:spcAft>
                  <a:spcPts val="0"/>
                </a:spcAft>
                <a:buClr>
                  <a:schemeClr val="tx1"/>
                </a:buClr>
                <a:buFontTx/>
                <a:buNone/>
                <a:defRPr sz="1600" b="1" i="0" kern="1200">
                  <a:solidFill>
                    <a:srgbClr val="001A54"/>
                  </a:solidFill>
                  <a:latin typeface="+mn-lt"/>
                  <a:ea typeface="Aktiv Grotesk" panose="020B0504020202020204" pitchFamily="34" charset="0"/>
                  <a:cs typeface="Arial" panose="020B0604020202020204" pitchFamily="34" charset="0"/>
                </a:defRPr>
              </a:lvl1pPr>
              <a:lvl2pPr marL="0" indent="0" algn="l" defTabSz="863995" rtl="0" eaLnBrk="1" latinLnBrk="0" hangingPunct="1">
                <a:lnSpc>
                  <a:spcPct val="120000"/>
                </a:lnSpc>
                <a:spcBef>
                  <a:spcPts val="800"/>
                </a:spcBef>
                <a:spcAft>
                  <a:spcPts val="0"/>
                </a:spcAft>
                <a:buClr>
                  <a:schemeClr val="tx1"/>
                </a:buClr>
                <a:buFontTx/>
                <a:buNone/>
                <a:defRPr sz="1600" b="0" i="0" kern="1200">
                  <a:solidFill>
                    <a:srgbClr val="001A54"/>
                  </a:solidFill>
                  <a:latin typeface="+mn-lt"/>
                  <a:ea typeface="Aktiv Grotesk" panose="020B0504020202020204" pitchFamily="34" charset="0"/>
                  <a:cs typeface="Arial" panose="020B0604020202020204" pitchFamily="34" charset="0"/>
                </a:defRPr>
              </a:lvl2pPr>
              <a:lvl3pPr marL="180000" indent="-179388" algn="l" defTabSz="863995" rtl="0" eaLnBrk="1" latinLnBrk="0" hangingPunct="1">
                <a:lnSpc>
                  <a:spcPct val="120000"/>
                </a:lnSpc>
                <a:spcBef>
                  <a:spcPts val="800"/>
                </a:spcBef>
                <a:spcAft>
                  <a:spcPts val="0"/>
                </a:spcAft>
                <a:buClrTx/>
                <a:buFont typeface="Arial" panose="020B0604020202020204" pitchFamily="34" charset="0"/>
                <a:buChar char="•"/>
                <a:defRPr sz="1600" b="0" i="0" kern="1200">
                  <a:solidFill>
                    <a:srgbClr val="001A54"/>
                  </a:solidFill>
                  <a:latin typeface="+mn-lt"/>
                  <a:ea typeface="Aktiv Grotesk" panose="020B0504020202020204" pitchFamily="34" charset="0"/>
                  <a:cs typeface="Arial" panose="020B0604020202020204" pitchFamily="34" charset="0"/>
                </a:defRPr>
              </a:lvl3pPr>
              <a:lvl4pPr marL="360000" indent="-180000" algn="l" defTabSz="863995" rtl="0" eaLnBrk="1" latinLnBrk="0" hangingPunct="1">
                <a:lnSpc>
                  <a:spcPct val="120000"/>
                </a:lnSpc>
                <a:spcBef>
                  <a:spcPts val="800"/>
                </a:spcBef>
                <a:spcAft>
                  <a:spcPts val="0"/>
                </a:spcAft>
                <a:buClrTx/>
                <a:buFont typeface="Arial" panose="020B0604020202020204" pitchFamily="34" charset="0"/>
                <a:buChar char="•"/>
                <a:defRPr sz="1600" b="0" i="0" kern="1200">
                  <a:solidFill>
                    <a:srgbClr val="001A54"/>
                  </a:solidFill>
                  <a:latin typeface="+mn-lt"/>
                  <a:ea typeface="Aktiv Grotesk" panose="020B0504020202020204" pitchFamily="34" charset="0"/>
                  <a:cs typeface="Arial" panose="020B0604020202020204" pitchFamily="34" charset="0"/>
                </a:defRPr>
              </a:lvl4pPr>
              <a:lvl5pPr marL="540000" indent="-180000" algn="l" defTabSz="863995" rtl="0" eaLnBrk="1" latinLnBrk="0" hangingPunct="1">
                <a:lnSpc>
                  <a:spcPct val="120000"/>
                </a:lnSpc>
                <a:spcBef>
                  <a:spcPts val="800"/>
                </a:spcBef>
                <a:spcAft>
                  <a:spcPts val="0"/>
                </a:spcAft>
                <a:buClrTx/>
                <a:buFont typeface="Arial" panose="020B0604020202020204" pitchFamily="34" charset="0"/>
                <a:buChar char="•"/>
                <a:defRPr sz="1600" b="0" i="0" kern="1200">
                  <a:solidFill>
                    <a:srgbClr val="001A54"/>
                  </a:solidFill>
                  <a:latin typeface="+mn-lt"/>
                  <a:ea typeface="Aktiv Grotesk" panose="020B0504020202020204" pitchFamily="34" charset="0"/>
                  <a:cs typeface="Arial" panose="020B0604020202020204" pitchFamily="34" charset="0"/>
                </a:defRPr>
              </a:lvl5pPr>
              <a:lvl6pPr marL="2375986" indent="-215998" algn="l" defTabSz="86399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6pPr>
              <a:lvl7pPr marL="2807984" indent="-215998" algn="l" defTabSz="86399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7pPr>
              <a:lvl8pPr marL="3239981" indent="-215998" algn="l" defTabSz="86399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8pPr>
              <a:lvl9pPr marL="3671979" indent="-215998" algn="l" defTabSz="86399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9pPr>
            </a:lstStyle>
            <a:p>
              <a:pPr marL="0" marR="0" lvl="0" indent="0" algn="l" defTabSz="863995" rtl="0" eaLnBrk="1" fontAlgn="auto" latinLnBrk="0" hangingPunct="1">
                <a:lnSpc>
                  <a:spcPct val="120000"/>
                </a:lnSpc>
                <a:spcBef>
                  <a:spcPts val="800"/>
                </a:spcBef>
                <a:spcAft>
                  <a:spcPts val="0"/>
                </a:spcAft>
                <a:buClr>
                  <a:srgbClr val="001A54"/>
                </a:buClr>
                <a:buSzTx/>
                <a:buFontTx/>
                <a:buNone/>
                <a:tabLst/>
                <a:defRPr/>
              </a:pPr>
              <a:r>
                <a:rPr kumimoji="0" lang="en" sz="700" b="0" i="0" u="none" strike="noStrike" kern="1200" cap="none" spc="0" normalizeH="0" baseline="0" noProof="0">
                  <a:ln>
                    <a:noFill/>
                  </a:ln>
                  <a:solidFill>
                    <a:srgbClr val="001A54"/>
                  </a:solidFill>
                  <a:effectLst/>
                  <a:uLnTx/>
                  <a:uFillTx/>
                  <a:latin typeface="Arial" panose="020B0604020202020204"/>
                  <a:cs typeface="Arial" panose="020B0604020202020204" pitchFamily="34" charset="0"/>
                </a:rPr>
                <a:t>Offical launch </a:t>
              </a:r>
              <a:r>
                <a:rPr lang="en" sz="700" b="0">
                  <a:latin typeface="Arial" panose="020B0604020202020204"/>
                </a:rPr>
                <a:t>01/25</a:t>
              </a:r>
              <a:endParaRPr kumimoji="0" lang="en" sz="700" b="0" i="0" u="none" strike="noStrike" kern="1200" cap="none" spc="0" normalizeH="0" baseline="0" noProof="0">
                <a:ln>
                  <a:noFill/>
                </a:ln>
                <a:solidFill>
                  <a:srgbClr val="001A54"/>
                </a:solidFill>
                <a:effectLst/>
                <a:uLnTx/>
                <a:uFillTx/>
                <a:latin typeface="Arial" panose="020B0604020202020204"/>
                <a:cs typeface="Arial" panose="020B0604020202020204" pitchFamily="34" charset="0"/>
              </a:endParaRPr>
            </a:p>
          </p:txBody>
        </p:sp>
        <p:sp>
          <p:nvSpPr>
            <p:cNvPr id="64" name="Textbox">
              <a:extLst>
                <a:ext uri="{FF2B5EF4-FFF2-40B4-BE49-F238E27FC236}">
                  <a16:creationId xmlns:a16="http://schemas.microsoft.com/office/drawing/2014/main" id="{85AB7257-7D5D-A9D6-7463-503C1F13C64C}"/>
                </a:ext>
              </a:extLst>
            </p:cNvPr>
            <p:cNvSpPr txBox="1">
              <a:spLocks/>
            </p:cNvSpPr>
            <p:nvPr>
              <p:custDataLst>
                <p:tags r:id="rId22"/>
              </p:custDataLst>
            </p:nvPr>
          </p:nvSpPr>
          <p:spPr>
            <a:xfrm>
              <a:off x="7653298" y="5750627"/>
              <a:ext cx="703719" cy="153756"/>
            </a:xfrm>
            <a:prstGeom prst="rect">
              <a:avLst/>
            </a:prstGeom>
            <a:noFill/>
            <a:extLst>
              <a:ext uri="{909E8E84-426E-40DD-AFC4-6F175D3DCCD1}">
                <a14:hiddenFill xmlns:a14="http://schemas.microsoft.com/office/drawing/2010/main">
                  <a:solidFill>
                    <a:srgbClr val="001A54"/>
                  </a:solidFill>
                </a14:hiddenFill>
              </a:ext>
            </a:extLst>
          </p:spPr>
          <p:txBody>
            <a:bodyPr vert="horz" wrap="none" lIns="0" tIns="0" rIns="0" bIns="36000" rtlCol="0">
              <a:spAutoFit/>
            </a:bodyPr>
            <a:lstStyle>
              <a:lvl1pPr marL="0" indent="0" algn="l" defTabSz="863995" rtl="0" eaLnBrk="1" latinLnBrk="0" hangingPunct="1">
                <a:lnSpc>
                  <a:spcPct val="120000"/>
                </a:lnSpc>
                <a:spcBef>
                  <a:spcPts val="1600"/>
                </a:spcBef>
                <a:spcAft>
                  <a:spcPts val="0"/>
                </a:spcAft>
                <a:buClr>
                  <a:schemeClr val="tx1"/>
                </a:buClr>
                <a:buFontTx/>
                <a:buNone/>
                <a:defRPr sz="1600" b="1" i="0" kern="1200">
                  <a:solidFill>
                    <a:srgbClr val="001A54"/>
                  </a:solidFill>
                  <a:latin typeface="+mn-lt"/>
                  <a:ea typeface="Aktiv Grotesk" panose="020B0504020202020204" pitchFamily="34" charset="0"/>
                  <a:cs typeface="Arial" panose="020B0604020202020204" pitchFamily="34" charset="0"/>
                </a:defRPr>
              </a:lvl1pPr>
              <a:lvl2pPr marL="0" indent="0" algn="l" defTabSz="863995" rtl="0" eaLnBrk="1" latinLnBrk="0" hangingPunct="1">
                <a:lnSpc>
                  <a:spcPct val="120000"/>
                </a:lnSpc>
                <a:spcBef>
                  <a:spcPts val="800"/>
                </a:spcBef>
                <a:spcAft>
                  <a:spcPts val="0"/>
                </a:spcAft>
                <a:buClr>
                  <a:schemeClr val="tx1"/>
                </a:buClr>
                <a:buFontTx/>
                <a:buNone/>
                <a:defRPr sz="1600" b="0" i="0" kern="1200">
                  <a:solidFill>
                    <a:srgbClr val="001A54"/>
                  </a:solidFill>
                  <a:latin typeface="+mn-lt"/>
                  <a:ea typeface="Aktiv Grotesk" panose="020B0504020202020204" pitchFamily="34" charset="0"/>
                  <a:cs typeface="Arial" panose="020B0604020202020204" pitchFamily="34" charset="0"/>
                </a:defRPr>
              </a:lvl2pPr>
              <a:lvl3pPr marL="180000" indent="-179388" algn="l" defTabSz="863995" rtl="0" eaLnBrk="1" latinLnBrk="0" hangingPunct="1">
                <a:lnSpc>
                  <a:spcPct val="120000"/>
                </a:lnSpc>
                <a:spcBef>
                  <a:spcPts val="800"/>
                </a:spcBef>
                <a:spcAft>
                  <a:spcPts val="0"/>
                </a:spcAft>
                <a:buClrTx/>
                <a:buFont typeface="Arial" panose="020B0604020202020204" pitchFamily="34" charset="0"/>
                <a:buChar char="•"/>
                <a:defRPr sz="1600" b="0" i="0" kern="1200">
                  <a:solidFill>
                    <a:srgbClr val="001A54"/>
                  </a:solidFill>
                  <a:latin typeface="+mn-lt"/>
                  <a:ea typeface="Aktiv Grotesk" panose="020B0504020202020204" pitchFamily="34" charset="0"/>
                  <a:cs typeface="Arial" panose="020B0604020202020204" pitchFamily="34" charset="0"/>
                </a:defRPr>
              </a:lvl3pPr>
              <a:lvl4pPr marL="360000" indent="-180000" algn="l" defTabSz="863995" rtl="0" eaLnBrk="1" latinLnBrk="0" hangingPunct="1">
                <a:lnSpc>
                  <a:spcPct val="120000"/>
                </a:lnSpc>
                <a:spcBef>
                  <a:spcPts val="800"/>
                </a:spcBef>
                <a:spcAft>
                  <a:spcPts val="0"/>
                </a:spcAft>
                <a:buClrTx/>
                <a:buFont typeface="Arial" panose="020B0604020202020204" pitchFamily="34" charset="0"/>
                <a:buChar char="•"/>
                <a:defRPr sz="1600" b="0" i="0" kern="1200">
                  <a:solidFill>
                    <a:srgbClr val="001A54"/>
                  </a:solidFill>
                  <a:latin typeface="+mn-lt"/>
                  <a:ea typeface="Aktiv Grotesk" panose="020B0504020202020204" pitchFamily="34" charset="0"/>
                  <a:cs typeface="Arial" panose="020B0604020202020204" pitchFamily="34" charset="0"/>
                </a:defRPr>
              </a:lvl4pPr>
              <a:lvl5pPr marL="540000" indent="-180000" algn="l" defTabSz="863995" rtl="0" eaLnBrk="1" latinLnBrk="0" hangingPunct="1">
                <a:lnSpc>
                  <a:spcPct val="120000"/>
                </a:lnSpc>
                <a:spcBef>
                  <a:spcPts val="800"/>
                </a:spcBef>
                <a:spcAft>
                  <a:spcPts val="0"/>
                </a:spcAft>
                <a:buClrTx/>
                <a:buFont typeface="Arial" panose="020B0604020202020204" pitchFamily="34" charset="0"/>
                <a:buChar char="•"/>
                <a:defRPr sz="1600" b="0" i="0" kern="1200">
                  <a:solidFill>
                    <a:srgbClr val="001A54"/>
                  </a:solidFill>
                  <a:latin typeface="+mn-lt"/>
                  <a:ea typeface="Aktiv Grotesk" panose="020B0504020202020204" pitchFamily="34" charset="0"/>
                  <a:cs typeface="Arial" panose="020B0604020202020204" pitchFamily="34" charset="0"/>
                </a:defRPr>
              </a:lvl5pPr>
              <a:lvl6pPr marL="2375986" indent="-215998" algn="l" defTabSz="86399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6pPr>
              <a:lvl7pPr marL="2807984" indent="-215998" algn="l" defTabSz="86399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7pPr>
              <a:lvl8pPr marL="3239981" indent="-215998" algn="l" defTabSz="86399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8pPr>
              <a:lvl9pPr marL="3671979" indent="-215998" algn="l" defTabSz="86399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9pPr>
            </a:lstStyle>
            <a:p>
              <a:pPr marL="0" marR="0" lvl="0" indent="0" algn="l" defTabSz="863995" rtl="0" eaLnBrk="1" fontAlgn="auto" latinLnBrk="0" hangingPunct="1">
                <a:lnSpc>
                  <a:spcPct val="120000"/>
                </a:lnSpc>
                <a:spcBef>
                  <a:spcPts val="800"/>
                </a:spcBef>
                <a:spcAft>
                  <a:spcPts val="0"/>
                </a:spcAft>
                <a:buClr>
                  <a:srgbClr val="001A54"/>
                </a:buClr>
                <a:buSzTx/>
                <a:buFontTx/>
                <a:buNone/>
                <a:tabLst/>
                <a:defRPr/>
              </a:pPr>
              <a:r>
                <a:rPr kumimoji="0" lang="en" sz="700" b="0" i="0" u="none" strike="noStrike" kern="1200" cap="none" spc="0" normalizeH="0" baseline="0" noProof="0" dirty="0">
                  <a:ln>
                    <a:noFill/>
                  </a:ln>
                  <a:solidFill>
                    <a:schemeClr val="bg1"/>
                  </a:solidFill>
                  <a:effectLst/>
                  <a:uLnTx/>
                  <a:uFillTx/>
                  <a:latin typeface="Arial" panose="020B0604020202020204"/>
                  <a:cs typeface="Arial" panose="020B0604020202020204" pitchFamily="34" charset="0"/>
                </a:rPr>
                <a:t>new types end 25</a:t>
              </a:r>
            </a:p>
          </p:txBody>
        </p:sp>
        <p:cxnSp>
          <p:nvCxnSpPr>
            <p:cNvPr id="65" name="Gerader Verbinder 64">
              <a:extLst>
                <a:ext uri="{FF2B5EF4-FFF2-40B4-BE49-F238E27FC236}">
                  <a16:creationId xmlns:a16="http://schemas.microsoft.com/office/drawing/2014/main" id="{8EED7B0C-3B3A-DB27-0210-E380A5D70351}"/>
                </a:ext>
              </a:extLst>
            </p:cNvPr>
            <p:cNvCxnSpPr>
              <a:cxnSpLocks/>
            </p:cNvCxnSpPr>
            <p:nvPr/>
          </p:nvCxnSpPr>
          <p:spPr>
            <a:xfrm>
              <a:off x="9273311" y="5888661"/>
              <a:ext cx="1692000" cy="0"/>
            </a:xfrm>
            <a:prstGeom prst="line">
              <a:avLst/>
            </a:prstGeom>
            <a:ln w="19050" cmpd="sng">
              <a:solidFill>
                <a:srgbClr val="001A54"/>
              </a:solidFill>
              <a:prstDash val="solid"/>
              <a:headEnd type="oval"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6" name="Textbox">
              <a:extLst>
                <a:ext uri="{FF2B5EF4-FFF2-40B4-BE49-F238E27FC236}">
                  <a16:creationId xmlns:a16="http://schemas.microsoft.com/office/drawing/2014/main" id="{C2D58F6B-B434-F630-BA3B-45EA46FFAB74}"/>
                </a:ext>
              </a:extLst>
            </p:cNvPr>
            <p:cNvSpPr txBox="1">
              <a:spLocks/>
            </p:cNvSpPr>
            <p:nvPr>
              <p:custDataLst>
                <p:tags r:id="rId23"/>
              </p:custDataLst>
            </p:nvPr>
          </p:nvSpPr>
          <p:spPr>
            <a:xfrm>
              <a:off x="9273311" y="5750627"/>
              <a:ext cx="1134926" cy="153756"/>
            </a:xfrm>
            <a:prstGeom prst="rect">
              <a:avLst/>
            </a:prstGeom>
            <a:noFill/>
            <a:extLst>
              <a:ext uri="{909E8E84-426E-40DD-AFC4-6F175D3DCCD1}">
                <a14:hiddenFill xmlns:a14="http://schemas.microsoft.com/office/drawing/2010/main">
                  <a:solidFill>
                    <a:srgbClr val="001A54"/>
                  </a:solidFill>
                </a14:hiddenFill>
              </a:ext>
            </a:extLst>
          </p:spPr>
          <p:txBody>
            <a:bodyPr vert="horz" wrap="none" lIns="0" tIns="0" rIns="0" bIns="36000" rtlCol="0">
              <a:spAutoFit/>
            </a:bodyPr>
            <a:lstStyle>
              <a:lvl1pPr marL="0" indent="0" algn="l" defTabSz="863995" rtl="0" eaLnBrk="1" latinLnBrk="0" hangingPunct="1">
                <a:lnSpc>
                  <a:spcPct val="120000"/>
                </a:lnSpc>
                <a:spcBef>
                  <a:spcPts val="1600"/>
                </a:spcBef>
                <a:spcAft>
                  <a:spcPts val="0"/>
                </a:spcAft>
                <a:buClr>
                  <a:schemeClr val="tx1"/>
                </a:buClr>
                <a:buFontTx/>
                <a:buNone/>
                <a:defRPr sz="1600" b="1" i="0" kern="1200">
                  <a:solidFill>
                    <a:srgbClr val="001A54"/>
                  </a:solidFill>
                  <a:latin typeface="+mn-lt"/>
                  <a:ea typeface="Aktiv Grotesk" panose="020B0504020202020204" pitchFamily="34" charset="0"/>
                  <a:cs typeface="Arial" panose="020B0604020202020204" pitchFamily="34" charset="0"/>
                </a:defRPr>
              </a:lvl1pPr>
              <a:lvl2pPr marL="0" indent="0" algn="l" defTabSz="863995" rtl="0" eaLnBrk="1" latinLnBrk="0" hangingPunct="1">
                <a:lnSpc>
                  <a:spcPct val="120000"/>
                </a:lnSpc>
                <a:spcBef>
                  <a:spcPts val="800"/>
                </a:spcBef>
                <a:spcAft>
                  <a:spcPts val="0"/>
                </a:spcAft>
                <a:buClr>
                  <a:schemeClr val="tx1"/>
                </a:buClr>
                <a:buFontTx/>
                <a:buNone/>
                <a:defRPr sz="1600" b="0" i="0" kern="1200">
                  <a:solidFill>
                    <a:srgbClr val="001A54"/>
                  </a:solidFill>
                  <a:latin typeface="+mn-lt"/>
                  <a:ea typeface="Aktiv Grotesk" panose="020B0504020202020204" pitchFamily="34" charset="0"/>
                  <a:cs typeface="Arial" panose="020B0604020202020204" pitchFamily="34" charset="0"/>
                </a:defRPr>
              </a:lvl2pPr>
              <a:lvl3pPr marL="180000" indent="-179388" algn="l" defTabSz="863995" rtl="0" eaLnBrk="1" latinLnBrk="0" hangingPunct="1">
                <a:lnSpc>
                  <a:spcPct val="120000"/>
                </a:lnSpc>
                <a:spcBef>
                  <a:spcPts val="800"/>
                </a:spcBef>
                <a:spcAft>
                  <a:spcPts val="0"/>
                </a:spcAft>
                <a:buClrTx/>
                <a:buFont typeface="Arial" panose="020B0604020202020204" pitchFamily="34" charset="0"/>
                <a:buChar char="•"/>
                <a:defRPr sz="1600" b="0" i="0" kern="1200">
                  <a:solidFill>
                    <a:srgbClr val="001A54"/>
                  </a:solidFill>
                  <a:latin typeface="+mn-lt"/>
                  <a:ea typeface="Aktiv Grotesk" panose="020B0504020202020204" pitchFamily="34" charset="0"/>
                  <a:cs typeface="Arial" panose="020B0604020202020204" pitchFamily="34" charset="0"/>
                </a:defRPr>
              </a:lvl3pPr>
              <a:lvl4pPr marL="360000" indent="-180000" algn="l" defTabSz="863995" rtl="0" eaLnBrk="1" latinLnBrk="0" hangingPunct="1">
                <a:lnSpc>
                  <a:spcPct val="120000"/>
                </a:lnSpc>
                <a:spcBef>
                  <a:spcPts val="800"/>
                </a:spcBef>
                <a:spcAft>
                  <a:spcPts val="0"/>
                </a:spcAft>
                <a:buClrTx/>
                <a:buFont typeface="Arial" panose="020B0604020202020204" pitchFamily="34" charset="0"/>
                <a:buChar char="•"/>
                <a:defRPr sz="1600" b="0" i="0" kern="1200">
                  <a:solidFill>
                    <a:srgbClr val="001A54"/>
                  </a:solidFill>
                  <a:latin typeface="+mn-lt"/>
                  <a:ea typeface="Aktiv Grotesk" panose="020B0504020202020204" pitchFamily="34" charset="0"/>
                  <a:cs typeface="Arial" panose="020B0604020202020204" pitchFamily="34" charset="0"/>
                </a:defRPr>
              </a:lvl4pPr>
              <a:lvl5pPr marL="540000" indent="-180000" algn="l" defTabSz="863995" rtl="0" eaLnBrk="1" latinLnBrk="0" hangingPunct="1">
                <a:lnSpc>
                  <a:spcPct val="120000"/>
                </a:lnSpc>
                <a:spcBef>
                  <a:spcPts val="800"/>
                </a:spcBef>
                <a:spcAft>
                  <a:spcPts val="0"/>
                </a:spcAft>
                <a:buClrTx/>
                <a:buFont typeface="Arial" panose="020B0604020202020204" pitchFamily="34" charset="0"/>
                <a:buChar char="•"/>
                <a:defRPr sz="1600" b="0" i="0" kern="1200">
                  <a:solidFill>
                    <a:srgbClr val="001A54"/>
                  </a:solidFill>
                  <a:latin typeface="+mn-lt"/>
                  <a:ea typeface="Aktiv Grotesk" panose="020B0504020202020204" pitchFamily="34" charset="0"/>
                  <a:cs typeface="Arial" panose="020B0604020202020204" pitchFamily="34" charset="0"/>
                </a:defRPr>
              </a:lvl5pPr>
              <a:lvl6pPr marL="2375986" indent="-215998" algn="l" defTabSz="86399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6pPr>
              <a:lvl7pPr marL="2807984" indent="-215998" algn="l" defTabSz="86399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7pPr>
              <a:lvl8pPr marL="3239981" indent="-215998" algn="l" defTabSz="86399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8pPr>
              <a:lvl9pPr marL="3671979" indent="-215998" algn="l" defTabSz="86399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9pPr>
            </a:lstStyle>
            <a:p>
              <a:pPr marL="0" marR="0" lvl="0" indent="0" algn="l" defTabSz="863995" rtl="0" eaLnBrk="1" fontAlgn="auto" latinLnBrk="0" hangingPunct="1">
                <a:lnSpc>
                  <a:spcPct val="120000"/>
                </a:lnSpc>
                <a:spcBef>
                  <a:spcPts val="800"/>
                </a:spcBef>
                <a:spcAft>
                  <a:spcPts val="0"/>
                </a:spcAft>
                <a:buClr>
                  <a:srgbClr val="001A54"/>
                </a:buClr>
                <a:buSzTx/>
                <a:buFontTx/>
                <a:buNone/>
                <a:tabLst/>
                <a:defRPr/>
              </a:pPr>
              <a:r>
                <a:rPr kumimoji="0" lang="en" sz="700" b="0" i="0" u="none" strike="noStrike" kern="1200" cap="none" spc="0" normalizeH="0" baseline="0" noProof="0" dirty="0">
                  <a:ln>
                    <a:noFill/>
                  </a:ln>
                  <a:solidFill>
                    <a:schemeClr val="bg1"/>
                  </a:solidFill>
                  <a:effectLst/>
                  <a:uLnTx/>
                  <a:uFillTx/>
                  <a:latin typeface="Arial" panose="020B0604020202020204"/>
                  <a:cs typeface="Arial" panose="020B0604020202020204" pitchFamily="34" charset="0"/>
                </a:rPr>
                <a:t>all vehicles produced end 27</a:t>
              </a:r>
            </a:p>
          </p:txBody>
        </p:sp>
        <p:cxnSp>
          <p:nvCxnSpPr>
            <p:cNvPr id="67" name="Gerader Verbinder 66">
              <a:extLst>
                <a:ext uri="{FF2B5EF4-FFF2-40B4-BE49-F238E27FC236}">
                  <a16:creationId xmlns:a16="http://schemas.microsoft.com/office/drawing/2014/main" id="{A1CD14C1-C058-CA52-F5D5-1F1756A315B9}"/>
                </a:ext>
              </a:extLst>
            </p:cNvPr>
            <p:cNvCxnSpPr>
              <a:cxnSpLocks/>
            </p:cNvCxnSpPr>
            <p:nvPr/>
          </p:nvCxnSpPr>
          <p:spPr>
            <a:xfrm>
              <a:off x="6744934" y="5888661"/>
              <a:ext cx="905435" cy="0"/>
            </a:xfrm>
            <a:prstGeom prst="line">
              <a:avLst/>
            </a:prstGeom>
            <a:ln w="19050" cmpd="sng">
              <a:solidFill>
                <a:srgbClr val="001A54"/>
              </a:solidFill>
              <a:prstDash val="solid"/>
              <a:headEnd type="oval" w="med" len="med"/>
              <a:tailEnd type="none" w="med" len="med"/>
            </a:ln>
          </p:spPr>
          <p:style>
            <a:lnRef idx="1">
              <a:schemeClr val="accent1"/>
            </a:lnRef>
            <a:fillRef idx="0">
              <a:schemeClr val="accent1"/>
            </a:fillRef>
            <a:effectRef idx="0">
              <a:schemeClr val="accent1"/>
            </a:effectRef>
            <a:fontRef idx="minor">
              <a:schemeClr val="tx1"/>
            </a:fontRef>
          </p:style>
        </p:cxnSp>
        <p:sp>
          <p:nvSpPr>
            <p:cNvPr id="68" name="Textbox">
              <a:extLst>
                <a:ext uri="{FF2B5EF4-FFF2-40B4-BE49-F238E27FC236}">
                  <a16:creationId xmlns:a16="http://schemas.microsoft.com/office/drawing/2014/main" id="{213BF7C0-019A-B702-46D8-5B6D1186125C}"/>
                </a:ext>
              </a:extLst>
            </p:cNvPr>
            <p:cNvSpPr txBox="1">
              <a:spLocks/>
            </p:cNvSpPr>
            <p:nvPr>
              <p:custDataLst>
                <p:tags r:id="rId24"/>
              </p:custDataLst>
            </p:nvPr>
          </p:nvSpPr>
          <p:spPr>
            <a:xfrm>
              <a:off x="6858369" y="5750627"/>
              <a:ext cx="631583" cy="153756"/>
            </a:xfrm>
            <a:prstGeom prst="rect">
              <a:avLst/>
            </a:prstGeom>
            <a:noFill/>
            <a:extLst>
              <a:ext uri="{909E8E84-426E-40DD-AFC4-6F175D3DCCD1}">
                <a14:hiddenFill xmlns:a14="http://schemas.microsoft.com/office/drawing/2010/main">
                  <a:solidFill>
                    <a:srgbClr val="001A54"/>
                  </a:solidFill>
                </a14:hiddenFill>
              </a:ext>
            </a:extLst>
          </p:spPr>
          <p:txBody>
            <a:bodyPr vert="horz" wrap="none" lIns="0" tIns="0" rIns="0" bIns="36000" rtlCol="0">
              <a:spAutoFit/>
            </a:bodyPr>
            <a:lstStyle>
              <a:lvl1pPr marL="0" indent="0" algn="l" defTabSz="863995" rtl="0" eaLnBrk="1" latinLnBrk="0" hangingPunct="1">
                <a:lnSpc>
                  <a:spcPct val="120000"/>
                </a:lnSpc>
                <a:spcBef>
                  <a:spcPts val="1600"/>
                </a:spcBef>
                <a:spcAft>
                  <a:spcPts val="0"/>
                </a:spcAft>
                <a:buClr>
                  <a:schemeClr val="tx1"/>
                </a:buClr>
                <a:buFontTx/>
                <a:buNone/>
                <a:defRPr sz="1600" b="1" i="0" kern="1200">
                  <a:solidFill>
                    <a:srgbClr val="001A54"/>
                  </a:solidFill>
                  <a:latin typeface="+mn-lt"/>
                  <a:ea typeface="Aktiv Grotesk" panose="020B0504020202020204" pitchFamily="34" charset="0"/>
                  <a:cs typeface="Arial" panose="020B0604020202020204" pitchFamily="34" charset="0"/>
                </a:defRPr>
              </a:lvl1pPr>
              <a:lvl2pPr marL="0" indent="0" algn="l" defTabSz="863995" rtl="0" eaLnBrk="1" latinLnBrk="0" hangingPunct="1">
                <a:lnSpc>
                  <a:spcPct val="120000"/>
                </a:lnSpc>
                <a:spcBef>
                  <a:spcPts val="800"/>
                </a:spcBef>
                <a:spcAft>
                  <a:spcPts val="0"/>
                </a:spcAft>
                <a:buClr>
                  <a:schemeClr val="tx1"/>
                </a:buClr>
                <a:buFontTx/>
                <a:buNone/>
                <a:defRPr sz="1600" b="0" i="0" kern="1200">
                  <a:solidFill>
                    <a:srgbClr val="001A54"/>
                  </a:solidFill>
                  <a:latin typeface="+mn-lt"/>
                  <a:ea typeface="Aktiv Grotesk" panose="020B0504020202020204" pitchFamily="34" charset="0"/>
                  <a:cs typeface="Arial" panose="020B0604020202020204" pitchFamily="34" charset="0"/>
                </a:defRPr>
              </a:lvl2pPr>
              <a:lvl3pPr marL="180000" indent="-179388" algn="l" defTabSz="863995" rtl="0" eaLnBrk="1" latinLnBrk="0" hangingPunct="1">
                <a:lnSpc>
                  <a:spcPct val="120000"/>
                </a:lnSpc>
                <a:spcBef>
                  <a:spcPts val="800"/>
                </a:spcBef>
                <a:spcAft>
                  <a:spcPts val="0"/>
                </a:spcAft>
                <a:buClrTx/>
                <a:buFont typeface="Arial" panose="020B0604020202020204" pitchFamily="34" charset="0"/>
                <a:buChar char="•"/>
                <a:defRPr sz="1600" b="0" i="0" kern="1200">
                  <a:solidFill>
                    <a:srgbClr val="001A54"/>
                  </a:solidFill>
                  <a:latin typeface="+mn-lt"/>
                  <a:ea typeface="Aktiv Grotesk" panose="020B0504020202020204" pitchFamily="34" charset="0"/>
                  <a:cs typeface="Arial" panose="020B0604020202020204" pitchFamily="34" charset="0"/>
                </a:defRPr>
              </a:lvl3pPr>
              <a:lvl4pPr marL="360000" indent="-180000" algn="l" defTabSz="863995" rtl="0" eaLnBrk="1" latinLnBrk="0" hangingPunct="1">
                <a:lnSpc>
                  <a:spcPct val="120000"/>
                </a:lnSpc>
                <a:spcBef>
                  <a:spcPts val="800"/>
                </a:spcBef>
                <a:spcAft>
                  <a:spcPts val="0"/>
                </a:spcAft>
                <a:buClrTx/>
                <a:buFont typeface="Arial" panose="020B0604020202020204" pitchFamily="34" charset="0"/>
                <a:buChar char="•"/>
                <a:defRPr sz="1600" b="0" i="0" kern="1200">
                  <a:solidFill>
                    <a:srgbClr val="001A54"/>
                  </a:solidFill>
                  <a:latin typeface="+mn-lt"/>
                  <a:ea typeface="Aktiv Grotesk" panose="020B0504020202020204" pitchFamily="34" charset="0"/>
                  <a:cs typeface="Arial" panose="020B0604020202020204" pitchFamily="34" charset="0"/>
                </a:defRPr>
              </a:lvl4pPr>
              <a:lvl5pPr marL="540000" indent="-180000" algn="l" defTabSz="863995" rtl="0" eaLnBrk="1" latinLnBrk="0" hangingPunct="1">
                <a:lnSpc>
                  <a:spcPct val="120000"/>
                </a:lnSpc>
                <a:spcBef>
                  <a:spcPts val="800"/>
                </a:spcBef>
                <a:spcAft>
                  <a:spcPts val="0"/>
                </a:spcAft>
                <a:buClrTx/>
                <a:buFont typeface="Arial" panose="020B0604020202020204" pitchFamily="34" charset="0"/>
                <a:buChar char="•"/>
                <a:defRPr sz="1600" b="0" i="0" kern="1200">
                  <a:solidFill>
                    <a:srgbClr val="001A54"/>
                  </a:solidFill>
                  <a:latin typeface="+mn-lt"/>
                  <a:ea typeface="Aktiv Grotesk" panose="020B0504020202020204" pitchFamily="34" charset="0"/>
                  <a:cs typeface="Arial" panose="020B0604020202020204" pitchFamily="34" charset="0"/>
                </a:defRPr>
              </a:lvl5pPr>
              <a:lvl6pPr marL="2375986" indent="-215998" algn="l" defTabSz="86399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6pPr>
              <a:lvl7pPr marL="2807984" indent="-215998" algn="l" defTabSz="86399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7pPr>
              <a:lvl8pPr marL="3239981" indent="-215998" algn="l" defTabSz="86399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8pPr>
              <a:lvl9pPr marL="3671979" indent="-215998" algn="l" defTabSz="86399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9pPr>
            </a:lstStyle>
            <a:p>
              <a:pPr marL="0" marR="0" lvl="0" indent="0" algn="l" defTabSz="863995" rtl="0" eaLnBrk="1" fontAlgn="auto" latinLnBrk="0" hangingPunct="1">
                <a:lnSpc>
                  <a:spcPct val="120000"/>
                </a:lnSpc>
                <a:spcBef>
                  <a:spcPts val="800"/>
                </a:spcBef>
                <a:spcAft>
                  <a:spcPts val="0"/>
                </a:spcAft>
                <a:buClr>
                  <a:srgbClr val="001A54"/>
                </a:buClr>
                <a:buSzTx/>
                <a:buFontTx/>
                <a:buNone/>
                <a:tabLst/>
                <a:defRPr/>
              </a:pPr>
              <a:r>
                <a:rPr kumimoji="0" lang="en" sz="700" b="0" i="0" u="none" strike="noStrike" kern="1200" cap="none" spc="0" normalizeH="0" baseline="0" noProof="0" dirty="0">
                  <a:ln>
                    <a:noFill/>
                  </a:ln>
                  <a:solidFill>
                    <a:schemeClr val="bg1"/>
                  </a:solidFill>
                  <a:effectLst/>
                  <a:uLnTx/>
                  <a:uFillTx/>
                  <a:latin typeface="Arial" panose="020B0604020202020204"/>
                  <a:cs typeface="Arial" panose="020B0604020202020204" pitchFamily="34" charset="0"/>
                </a:rPr>
                <a:t>published 10/24</a:t>
              </a:r>
            </a:p>
          </p:txBody>
        </p:sp>
        <p:cxnSp>
          <p:nvCxnSpPr>
            <p:cNvPr id="63" name="Gerader Verbinder 62">
              <a:extLst>
                <a:ext uri="{FF2B5EF4-FFF2-40B4-BE49-F238E27FC236}">
                  <a16:creationId xmlns:a16="http://schemas.microsoft.com/office/drawing/2014/main" id="{7214EDD7-7432-6351-1E14-E4BA0D93F850}"/>
                </a:ext>
              </a:extLst>
            </p:cNvPr>
            <p:cNvCxnSpPr>
              <a:cxnSpLocks/>
            </p:cNvCxnSpPr>
            <p:nvPr/>
          </p:nvCxnSpPr>
          <p:spPr>
            <a:xfrm>
              <a:off x="7653298" y="5888661"/>
              <a:ext cx="1692000" cy="0"/>
            </a:xfrm>
            <a:prstGeom prst="line">
              <a:avLst/>
            </a:prstGeom>
            <a:ln w="19050" cmpd="sng">
              <a:solidFill>
                <a:srgbClr val="001A54"/>
              </a:solidFill>
              <a:prstDash val="solid"/>
              <a:headEnd type="oval" w="med" len="med"/>
              <a:tailEnd type="none" w="med" len="med"/>
            </a:ln>
          </p:spPr>
          <p:style>
            <a:lnRef idx="1">
              <a:schemeClr val="accent1"/>
            </a:lnRef>
            <a:fillRef idx="0">
              <a:schemeClr val="accent1"/>
            </a:fillRef>
            <a:effectRef idx="0">
              <a:schemeClr val="accent1"/>
            </a:effectRef>
            <a:fontRef idx="minor">
              <a:schemeClr val="tx1"/>
            </a:fontRef>
          </p:style>
        </p:cxnSp>
        <p:pic>
          <p:nvPicPr>
            <p:cNvPr id="10" name="Grafik 9">
              <a:extLst>
                <a:ext uri="{FF2B5EF4-FFF2-40B4-BE49-F238E27FC236}">
                  <a16:creationId xmlns:a16="http://schemas.microsoft.com/office/drawing/2014/main" id="{EDC5BB53-9E1C-8C59-BF80-0C103D0BE4E2}"/>
                </a:ext>
              </a:extLst>
            </p:cNvPr>
            <p:cNvPicPr>
              <a:picLocks noChangeAspect="1"/>
            </p:cNvPicPr>
            <p:nvPr/>
          </p:nvPicPr>
          <p:blipFill>
            <a:blip r:embed="rId31">
              <a:extLst>
                <a:ext uri="{28A0092B-C50C-407E-A947-70E740481C1C}">
                  <a14:useLocalDpi xmlns:a14="http://schemas.microsoft.com/office/drawing/2010/main" val="0"/>
                </a:ext>
              </a:extLst>
            </a:blip>
            <a:stretch>
              <a:fillRect/>
            </a:stretch>
          </p:blipFill>
          <p:spPr>
            <a:xfrm>
              <a:off x="292081" y="3656413"/>
              <a:ext cx="180000" cy="180000"/>
            </a:xfrm>
            <a:prstGeom prst="rect">
              <a:avLst/>
            </a:prstGeom>
          </p:spPr>
        </p:pic>
        <p:pic>
          <p:nvPicPr>
            <p:cNvPr id="38" name="Grafik 37">
              <a:extLst>
                <a:ext uri="{FF2B5EF4-FFF2-40B4-BE49-F238E27FC236}">
                  <a16:creationId xmlns:a16="http://schemas.microsoft.com/office/drawing/2014/main" id="{614E5463-0C25-0386-D141-9CB38D068408}"/>
                </a:ext>
              </a:extLst>
            </p:cNvPr>
            <p:cNvPicPr>
              <a:picLocks noChangeAspect="1"/>
            </p:cNvPicPr>
            <p:nvPr/>
          </p:nvPicPr>
          <p:blipFill>
            <a:blip r:embed="rId32">
              <a:extLst>
                <a:ext uri="{28A0092B-C50C-407E-A947-70E740481C1C}">
                  <a14:useLocalDpi xmlns:a14="http://schemas.microsoft.com/office/drawing/2010/main" val="0"/>
                </a:ext>
              </a:extLst>
            </a:blip>
            <a:stretch>
              <a:fillRect/>
            </a:stretch>
          </p:blipFill>
          <p:spPr>
            <a:xfrm>
              <a:off x="292081" y="4124465"/>
              <a:ext cx="180000" cy="180000"/>
            </a:xfrm>
            <a:prstGeom prst="rect">
              <a:avLst/>
            </a:prstGeom>
          </p:spPr>
        </p:pic>
        <p:pic>
          <p:nvPicPr>
            <p:cNvPr id="40" name="Grafik 39">
              <a:extLst>
                <a:ext uri="{FF2B5EF4-FFF2-40B4-BE49-F238E27FC236}">
                  <a16:creationId xmlns:a16="http://schemas.microsoft.com/office/drawing/2014/main" id="{5C139C11-2D2B-990A-0ECB-C3398D255E2D}"/>
                </a:ext>
              </a:extLst>
            </p:cNvPr>
            <p:cNvPicPr>
              <a:picLocks noChangeAspect="1"/>
            </p:cNvPicPr>
            <p:nvPr/>
          </p:nvPicPr>
          <p:blipFill>
            <a:blip r:embed="rId33">
              <a:extLst>
                <a:ext uri="{28A0092B-C50C-407E-A947-70E740481C1C}">
                  <a14:useLocalDpi xmlns:a14="http://schemas.microsoft.com/office/drawing/2010/main" val="0"/>
                </a:ext>
              </a:extLst>
            </a:blip>
            <a:stretch>
              <a:fillRect/>
            </a:stretch>
          </p:blipFill>
          <p:spPr>
            <a:xfrm>
              <a:off x="292081" y="5708641"/>
              <a:ext cx="180000" cy="180000"/>
            </a:xfrm>
            <a:prstGeom prst="rect">
              <a:avLst/>
            </a:prstGeom>
          </p:spPr>
        </p:pic>
        <p:pic>
          <p:nvPicPr>
            <p:cNvPr id="42" name="Grafik 41">
              <a:extLst>
                <a:ext uri="{FF2B5EF4-FFF2-40B4-BE49-F238E27FC236}">
                  <a16:creationId xmlns:a16="http://schemas.microsoft.com/office/drawing/2014/main" id="{5AFF6FD1-E2E1-0C79-CDE0-05111E5A4A2E}"/>
                </a:ext>
              </a:extLst>
            </p:cNvPr>
            <p:cNvPicPr>
              <a:picLocks noChangeAspect="1"/>
            </p:cNvPicPr>
            <p:nvPr/>
          </p:nvPicPr>
          <p:blipFill>
            <a:blip r:embed="rId34">
              <a:extLst>
                <a:ext uri="{28A0092B-C50C-407E-A947-70E740481C1C}">
                  <a14:useLocalDpi xmlns:a14="http://schemas.microsoft.com/office/drawing/2010/main" val="0"/>
                </a:ext>
              </a:extLst>
            </a:blip>
            <a:stretch>
              <a:fillRect/>
            </a:stretch>
          </p:blipFill>
          <p:spPr>
            <a:xfrm>
              <a:off x="292081" y="5312597"/>
              <a:ext cx="180000" cy="180000"/>
            </a:xfrm>
            <a:prstGeom prst="rect">
              <a:avLst/>
            </a:prstGeom>
          </p:spPr>
        </p:pic>
        <p:pic>
          <p:nvPicPr>
            <p:cNvPr id="77" name="Grafik 76">
              <a:extLst>
                <a:ext uri="{FF2B5EF4-FFF2-40B4-BE49-F238E27FC236}">
                  <a16:creationId xmlns:a16="http://schemas.microsoft.com/office/drawing/2014/main" id="{B03C5B46-5361-356D-32DA-981EC3757199}"/>
                </a:ext>
              </a:extLst>
            </p:cNvPr>
            <p:cNvPicPr>
              <a:picLocks noChangeAspect="1"/>
            </p:cNvPicPr>
            <p:nvPr/>
          </p:nvPicPr>
          <p:blipFill>
            <a:blip r:embed="rId35">
              <a:extLst>
                <a:ext uri="{28A0092B-C50C-407E-A947-70E740481C1C}">
                  <a14:useLocalDpi xmlns:a14="http://schemas.microsoft.com/office/drawing/2010/main" val="0"/>
                </a:ext>
              </a:extLst>
            </a:blip>
            <a:stretch>
              <a:fillRect/>
            </a:stretch>
          </p:blipFill>
          <p:spPr>
            <a:xfrm>
              <a:off x="274081" y="1784205"/>
              <a:ext cx="216000" cy="216000"/>
            </a:xfrm>
            <a:prstGeom prst="rect">
              <a:avLst/>
            </a:prstGeom>
          </p:spPr>
        </p:pic>
        <p:pic>
          <p:nvPicPr>
            <p:cNvPr id="79" name="Grafik 78">
              <a:extLst>
                <a:ext uri="{FF2B5EF4-FFF2-40B4-BE49-F238E27FC236}">
                  <a16:creationId xmlns:a16="http://schemas.microsoft.com/office/drawing/2014/main" id="{25A5E9D4-C13B-8C3B-7BE7-D0E153608C4B}"/>
                </a:ext>
              </a:extLst>
            </p:cNvPr>
            <p:cNvPicPr>
              <a:picLocks noChangeAspect="1"/>
            </p:cNvPicPr>
            <p:nvPr/>
          </p:nvPicPr>
          <p:blipFill>
            <a:blip r:embed="rId36">
              <a:extLst>
                <a:ext uri="{28A0092B-C50C-407E-A947-70E740481C1C}">
                  <a14:useLocalDpi xmlns:a14="http://schemas.microsoft.com/office/drawing/2010/main" val="0"/>
                </a:ext>
              </a:extLst>
            </a:blip>
            <a:stretch>
              <a:fillRect/>
            </a:stretch>
          </p:blipFill>
          <p:spPr>
            <a:xfrm>
              <a:off x="292081" y="2216273"/>
              <a:ext cx="180000" cy="180000"/>
            </a:xfrm>
            <a:prstGeom prst="rect">
              <a:avLst/>
            </a:prstGeom>
          </p:spPr>
        </p:pic>
        <p:pic>
          <p:nvPicPr>
            <p:cNvPr id="81" name="Grafik 80">
              <a:extLst>
                <a:ext uri="{FF2B5EF4-FFF2-40B4-BE49-F238E27FC236}">
                  <a16:creationId xmlns:a16="http://schemas.microsoft.com/office/drawing/2014/main" id="{05FA7D94-275B-CB1F-9E8B-F832CE239FF7}"/>
                </a:ext>
              </a:extLst>
            </p:cNvPr>
            <p:cNvPicPr>
              <a:picLocks noChangeAspect="1"/>
            </p:cNvPicPr>
            <p:nvPr/>
          </p:nvPicPr>
          <p:blipFill>
            <a:blip r:embed="rId37">
              <a:extLst>
                <a:ext uri="{28A0092B-C50C-407E-A947-70E740481C1C}">
                  <a14:useLocalDpi xmlns:a14="http://schemas.microsoft.com/office/drawing/2010/main" val="0"/>
                </a:ext>
              </a:extLst>
            </a:blip>
            <a:stretch>
              <a:fillRect/>
            </a:stretch>
          </p:blipFill>
          <p:spPr>
            <a:xfrm>
              <a:off x="292081" y="1170394"/>
              <a:ext cx="180000" cy="180000"/>
            </a:xfrm>
            <a:prstGeom prst="rect">
              <a:avLst/>
            </a:prstGeom>
          </p:spPr>
        </p:pic>
        <p:sp>
          <p:nvSpPr>
            <p:cNvPr id="83" name="Textbox">
              <a:extLst>
                <a:ext uri="{FF2B5EF4-FFF2-40B4-BE49-F238E27FC236}">
                  <a16:creationId xmlns:a16="http://schemas.microsoft.com/office/drawing/2014/main" id="{8D7182FB-559A-1B0F-595A-9F31C2469272}"/>
                </a:ext>
              </a:extLst>
            </p:cNvPr>
            <p:cNvSpPr txBox="1">
              <a:spLocks/>
            </p:cNvSpPr>
            <p:nvPr>
              <p:custDataLst>
                <p:tags r:id="rId25"/>
              </p:custDataLst>
            </p:nvPr>
          </p:nvSpPr>
          <p:spPr>
            <a:xfrm>
              <a:off x="7572989" y="3224365"/>
              <a:ext cx="599523" cy="283022"/>
            </a:xfrm>
            <a:prstGeom prst="rect">
              <a:avLst/>
            </a:prstGeom>
            <a:noFill/>
            <a:extLst>
              <a:ext uri="{909E8E84-426E-40DD-AFC4-6F175D3DCCD1}">
                <a14:hiddenFill xmlns:a14="http://schemas.microsoft.com/office/drawing/2010/main">
                  <a:solidFill>
                    <a:srgbClr val="001A54"/>
                  </a:solidFill>
                </a14:hiddenFill>
              </a:ext>
            </a:extLst>
          </p:spPr>
          <p:txBody>
            <a:bodyPr vert="horz" wrap="none" lIns="0" tIns="0" rIns="0" bIns="36000" rtlCol="0">
              <a:spAutoFit/>
            </a:bodyPr>
            <a:lstStyle>
              <a:lvl1pPr marL="0" indent="0" algn="l" defTabSz="863995" rtl="0" eaLnBrk="1" latinLnBrk="0" hangingPunct="1">
                <a:lnSpc>
                  <a:spcPct val="120000"/>
                </a:lnSpc>
                <a:spcBef>
                  <a:spcPts val="1600"/>
                </a:spcBef>
                <a:spcAft>
                  <a:spcPts val="0"/>
                </a:spcAft>
                <a:buClr>
                  <a:schemeClr val="tx1"/>
                </a:buClr>
                <a:buFontTx/>
                <a:buNone/>
                <a:defRPr sz="1600" b="1" i="0" kern="1200">
                  <a:solidFill>
                    <a:srgbClr val="001A54"/>
                  </a:solidFill>
                  <a:latin typeface="+mn-lt"/>
                  <a:ea typeface="Aktiv Grotesk" panose="020B0504020202020204" pitchFamily="34" charset="0"/>
                  <a:cs typeface="Arial" panose="020B0604020202020204" pitchFamily="34" charset="0"/>
                </a:defRPr>
              </a:lvl1pPr>
              <a:lvl2pPr marL="0" indent="0" algn="l" defTabSz="863995" rtl="0" eaLnBrk="1" latinLnBrk="0" hangingPunct="1">
                <a:lnSpc>
                  <a:spcPct val="120000"/>
                </a:lnSpc>
                <a:spcBef>
                  <a:spcPts val="800"/>
                </a:spcBef>
                <a:spcAft>
                  <a:spcPts val="0"/>
                </a:spcAft>
                <a:buClr>
                  <a:schemeClr val="tx1"/>
                </a:buClr>
                <a:buFontTx/>
                <a:buNone/>
                <a:defRPr sz="1600" b="0" i="0" kern="1200">
                  <a:solidFill>
                    <a:srgbClr val="001A54"/>
                  </a:solidFill>
                  <a:latin typeface="+mn-lt"/>
                  <a:ea typeface="Aktiv Grotesk" panose="020B0504020202020204" pitchFamily="34" charset="0"/>
                  <a:cs typeface="Arial" panose="020B0604020202020204" pitchFamily="34" charset="0"/>
                </a:defRPr>
              </a:lvl2pPr>
              <a:lvl3pPr marL="180000" indent="-179388" algn="l" defTabSz="863995" rtl="0" eaLnBrk="1" latinLnBrk="0" hangingPunct="1">
                <a:lnSpc>
                  <a:spcPct val="120000"/>
                </a:lnSpc>
                <a:spcBef>
                  <a:spcPts val="800"/>
                </a:spcBef>
                <a:spcAft>
                  <a:spcPts val="0"/>
                </a:spcAft>
                <a:buClrTx/>
                <a:buFont typeface="Arial" panose="020B0604020202020204" pitchFamily="34" charset="0"/>
                <a:buChar char="•"/>
                <a:defRPr sz="1600" b="0" i="0" kern="1200">
                  <a:solidFill>
                    <a:srgbClr val="001A54"/>
                  </a:solidFill>
                  <a:latin typeface="+mn-lt"/>
                  <a:ea typeface="Aktiv Grotesk" panose="020B0504020202020204" pitchFamily="34" charset="0"/>
                  <a:cs typeface="Arial" panose="020B0604020202020204" pitchFamily="34" charset="0"/>
                </a:defRPr>
              </a:lvl3pPr>
              <a:lvl4pPr marL="360000" indent="-180000" algn="l" defTabSz="863995" rtl="0" eaLnBrk="1" latinLnBrk="0" hangingPunct="1">
                <a:lnSpc>
                  <a:spcPct val="120000"/>
                </a:lnSpc>
                <a:spcBef>
                  <a:spcPts val="800"/>
                </a:spcBef>
                <a:spcAft>
                  <a:spcPts val="0"/>
                </a:spcAft>
                <a:buClrTx/>
                <a:buFont typeface="Arial" panose="020B0604020202020204" pitchFamily="34" charset="0"/>
                <a:buChar char="•"/>
                <a:defRPr sz="1600" b="0" i="0" kern="1200">
                  <a:solidFill>
                    <a:srgbClr val="001A54"/>
                  </a:solidFill>
                  <a:latin typeface="+mn-lt"/>
                  <a:ea typeface="Aktiv Grotesk" panose="020B0504020202020204" pitchFamily="34" charset="0"/>
                  <a:cs typeface="Arial" panose="020B0604020202020204" pitchFamily="34" charset="0"/>
                </a:defRPr>
              </a:lvl4pPr>
              <a:lvl5pPr marL="540000" indent="-180000" algn="l" defTabSz="863995" rtl="0" eaLnBrk="1" latinLnBrk="0" hangingPunct="1">
                <a:lnSpc>
                  <a:spcPct val="120000"/>
                </a:lnSpc>
                <a:spcBef>
                  <a:spcPts val="800"/>
                </a:spcBef>
                <a:spcAft>
                  <a:spcPts val="0"/>
                </a:spcAft>
                <a:buClrTx/>
                <a:buFont typeface="Arial" panose="020B0604020202020204" pitchFamily="34" charset="0"/>
                <a:buChar char="•"/>
                <a:defRPr sz="1600" b="0" i="0" kern="1200">
                  <a:solidFill>
                    <a:srgbClr val="001A54"/>
                  </a:solidFill>
                  <a:latin typeface="+mn-lt"/>
                  <a:ea typeface="Aktiv Grotesk" panose="020B0504020202020204" pitchFamily="34" charset="0"/>
                  <a:cs typeface="Arial" panose="020B0604020202020204" pitchFamily="34" charset="0"/>
                </a:defRPr>
              </a:lvl5pPr>
              <a:lvl6pPr marL="2375986" indent="-215998" algn="l" defTabSz="86399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6pPr>
              <a:lvl7pPr marL="2807984" indent="-215998" algn="l" defTabSz="86399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7pPr>
              <a:lvl8pPr marL="3239981" indent="-215998" algn="l" defTabSz="86399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8pPr>
              <a:lvl9pPr marL="3671979" indent="-215998" algn="l" defTabSz="86399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9pPr>
            </a:lstStyle>
            <a:p>
              <a:pPr marL="0" marR="0" lvl="0" indent="0" algn="l" defTabSz="863995" rtl="0" eaLnBrk="1" fontAlgn="auto" latinLnBrk="0" hangingPunct="1">
                <a:lnSpc>
                  <a:spcPct val="120000"/>
                </a:lnSpc>
                <a:spcBef>
                  <a:spcPts val="800"/>
                </a:spcBef>
                <a:spcAft>
                  <a:spcPts val="0"/>
                </a:spcAft>
                <a:buClr>
                  <a:srgbClr val="001A54"/>
                </a:buClr>
                <a:buSzTx/>
                <a:buFontTx/>
                <a:buNone/>
                <a:tabLst/>
                <a:defRPr/>
              </a:pPr>
              <a:r>
                <a:rPr kumimoji="0" lang="en" sz="700" b="0" i="0" u="none" strike="noStrike" kern="1200" cap="none" spc="0" normalizeH="0" baseline="0" noProof="0">
                  <a:ln>
                    <a:noFill/>
                  </a:ln>
                  <a:solidFill>
                    <a:srgbClr val="001A54"/>
                  </a:solidFill>
                  <a:effectLst/>
                  <a:uLnTx/>
                  <a:uFillTx/>
                  <a:latin typeface="Arial" panose="020B0604020202020204"/>
                  <a:cs typeface="Arial" panose="020B0604020202020204" pitchFamily="34" charset="0"/>
                </a:rPr>
                <a:t>Expected to be</a:t>
              </a:r>
              <a:br>
                <a:rPr kumimoji="0" lang="en-US" sz="700" b="0" i="0" u="none" strike="noStrike" kern="1200" cap="none" spc="0" normalizeH="0" baseline="0" noProof="0">
                  <a:ln>
                    <a:noFill/>
                  </a:ln>
                  <a:solidFill>
                    <a:srgbClr val="001A54"/>
                  </a:solidFill>
                  <a:effectLst/>
                  <a:uLnTx/>
                  <a:uFillTx/>
                  <a:latin typeface="Arial" panose="020B0604020202020204"/>
                  <a:cs typeface="Arial" panose="020B0604020202020204" pitchFamily="34" charset="0"/>
                </a:rPr>
              </a:br>
              <a:r>
                <a:rPr kumimoji="0" lang="en" sz="700" b="0" i="0" u="none" strike="noStrike" kern="1200" cap="none" spc="0" normalizeH="0" baseline="0" noProof="0">
                  <a:ln>
                    <a:noFill/>
                  </a:ln>
                  <a:solidFill>
                    <a:srgbClr val="001A54"/>
                  </a:solidFill>
                  <a:effectLst/>
                  <a:uLnTx/>
                  <a:uFillTx/>
                  <a:latin typeface="Arial" panose="020B0604020202020204"/>
                  <a:cs typeface="Arial" panose="020B0604020202020204" pitchFamily="34" charset="0"/>
                </a:rPr>
                <a:t>in force 10/25</a:t>
              </a:r>
            </a:p>
          </p:txBody>
        </p:sp>
        <p:cxnSp>
          <p:nvCxnSpPr>
            <p:cNvPr id="7" name="Gerader Verbinder 6">
              <a:extLst>
                <a:ext uri="{FF2B5EF4-FFF2-40B4-BE49-F238E27FC236}">
                  <a16:creationId xmlns:a16="http://schemas.microsoft.com/office/drawing/2014/main" id="{DE11E1C3-7940-C8D9-F702-F568BC4A2937}"/>
                </a:ext>
              </a:extLst>
            </p:cNvPr>
            <p:cNvCxnSpPr>
              <a:cxnSpLocks/>
            </p:cNvCxnSpPr>
            <p:nvPr/>
          </p:nvCxnSpPr>
          <p:spPr>
            <a:xfrm flipV="1">
              <a:off x="8086933" y="1314893"/>
              <a:ext cx="2880000" cy="0"/>
            </a:xfrm>
            <a:prstGeom prst="line">
              <a:avLst/>
            </a:prstGeom>
            <a:ln w="19050" cmpd="sng">
              <a:solidFill>
                <a:srgbClr val="001A54"/>
              </a:solidFill>
              <a:prstDash val="solid"/>
              <a:headEnd type="oval"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5" name="Gerader Verbinder 84">
              <a:extLst>
                <a:ext uri="{FF2B5EF4-FFF2-40B4-BE49-F238E27FC236}">
                  <a16:creationId xmlns:a16="http://schemas.microsoft.com/office/drawing/2014/main" id="{4DC6E213-6D3E-E4BC-E6E8-2EAB76BCB257}"/>
                </a:ext>
              </a:extLst>
            </p:cNvPr>
            <p:cNvCxnSpPr>
              <a:cxnSpLocks/>
            </p:cNvCxnSpPr>
            <p:nvPr/>
          </p:nvCxnSpPr>
          <p:spPr>
            <a:xfrm>
              <a:off x="8357017" y="3080349"/>
              <a:ext cx="931619" cy="0"/>
            </a:xfrm>
            <a:prstGeom prst="line">
              <a:avLst/>
            </a:prstGeom>
            <a:ln w="19050" cmpd="sng">
              <a:solidFill>
                <a:srgbClr val="001A54"/>
              </a:solidFill>
              <a:prstDash val="solid"/>
              <a:headEnd type="oval" w="med" len="med"/>
              <a:tailEnd type="none" w="med" len="med"/>
            </a:ln>
          </p:spPr>
          <p:style>
            <a:lnRef idx="1">
              <a:schemeClr val="accent1"/>
            </a:lnRef>
            <a:fillRef idx="0">
              <a:schemeClr val="accent1"/>
            </a:fillRef>
            <a:effectRef idx="0">
              <a:schemeClr val="accent1"/>
            </a:effectRef>
            <a:fontRef idx="minor">
              <a:schemeClr val="tx1"/>
            </a:fontRef>
          </p:style>
        </p:cxnSp>
        <p:sp>
          <p:nvSpPr>
            <p:cNvPr id="86" name="Textbox">
              <a:extLst>
                <a:ext uri="{FF2B5EF4-FFF2-40B4-BE49-F238E27FC236}">
                  <a16:creationId xmlns:a16="http://schemas.microsoft.com/office/drawing/2014/main" id="{C342E33B-0E4F-4D4F-25FD-E00E934D19A4}"/>
                </a:ext>
              </a:extLst>
            </p:cNvPr>
            <p:cNvSpPr txBox="1">
              <a:spLocks/>
            </p:cNvSpPr>
            <p:nvPr>
              <p:custDataLst>
                <p:tags r:id="rId26"/>
              </p:custDataLst>
            </p:nvPr>
          </p:nvSpPr>
          <p:spPr>
            <a:xfrm>
              <a:off x="8326534" y="2936333"/>
              <a:ext cx="1057611" cy="153756"/>
            </a:xfrm>
            <a:prstGeom prst="rect">
              <a:avLst/>
            </a:prstGeom>
            <a:noFill/>
            <a:extLst>
              <a:ext uri="{909E8E84-426E-40DD-AFC4-6F175D3DCCD1}">
                <a14:hiddenFill xmlns:a14="http://schemas.microsoft.com/office/drawing/2010/main">
                  <a:solidFill>
                    <a:srgbClr val="001A54"/>
                  </a:solidFill>
                </a14:hiddenFill>
              </a:ext>
            </a:extLst>
          </p:spPr>
          <p:txBody>
            <a:bodyPr vert="horz" wrap="square" lIns="0" tIns="0" rIns="0" bIns="36000" rtlCol="0">
              <a:spAutoFit/>
            </a:bodyPr>
            <a:lstStyle>
              <a:lvl1pPr marL="0" indent="0" algn="l" defTabSz="863995" rtl="0" eaLnBrk="1" latinLnBrk="0" hangingPunct="1">
                <a:lnSpc>
                  <a:spcPct val="120000"/>
                </a:lnSpc>
                <a:spcBef>
                  <a:spcPts val="1600"/>
                </a:spcBef>
                <a:spcAft>
                  <a:spcPts val="0"/>
                </a:spcAft>
                <a:buClr>
                  <a:schemeClr val="tx1"/>
                </a:buClr>
                <a:buFontTx/>
                <a:buNone/>
                <a:defRPr sz="1600" b="1" i="0" kern="1200">
                  <a:solidFill>
                    <a:srgbClr val="001A54"/>
                  </a:solidFill>
                  <a:latin typeface="+mn-lt"/>
                  <a:ea typeface="Aktiv Grotesk" panose="020B0504020202020204" pitchFamily="34" charset="0"/>
                  <a:cs typeface="Arial" panose="020B0604020202020204" pitchFamily="34" charset="0"/>
                </a:defRPr>
              </a:lvl1pPr>
              <a:lvl2pPr marL="0" indent="0" algn="l" defTabSz="863995" rtl="0" eaLnBrk="1" latinLnBrk="0" hangingPunct="1">
                <a:lnSpc>
                  <a:spcPct val="120000"/>
                </a:lnSpc>
                <a:spcBef>
                  <a:spcPts val="800"/>
                </a:spcBef>
                <a:spcAft>
                  <a:spcPts val="0"/>
                </a:spcAft>
                <a:buClr>
                  <a:schemeClr val="tx1"/>
                </a:buClr>
                <a:buFontTx/>
                <a:buNone/>
                <a:defRPr sz="1600" b="0" i="0" kern="1200">
                  <a:solidFill>
                    <a:srgbClr val="001A54"/>
                  </a:solidFill>
                  <a:latin typeface="+mn-lt"/>
                  <a:ea typeface="Aktiv Grotesk" panose="020B0504020202020204" pitchFamily="34" charset="0"/>
                  <a:cs typeface="Arial" panose="020B0604020202020204" pitchFamily="34" charset="0"/>
                </a:defRPr>
              </a:lvl2pPr>
              <a:lvl3pPr marL="180000" indent="-179388" algn="l" defTabSz="863995" rtl="0" eaLnBrk="1" latinLnBrk="0" hangingPunct="1">
                <a:lnSpc>
                  <a:spcPct val="120000"/>
                </a:lnSpc>
                <a:spcBef>
                  <a:spcPts val="800"/>
                </a:spcBef>
                <a:spcAft>
                  <a:spcPts val="0"/>
                </a:spcAft>
                <a:buClrTx/>
                <a:buFont typeface="Arial" panose="020B0604020202020204" pitchFamily="34" charset="0"/>
                <a:buChar char="•"/>
                <a:defRPr sz="1600" b="0" i="0" kern="1200">
                  <a:solidFill>
                    <a:srgbClr val="001A54"/>
                  </a:solidFill>
                  <a:latin typeface="+mn-lt"/>
                  <a:ea typeface="Aktiv Grotesk" panose="020B0504020202020204" pitchFamily="34" charset="0"/>
                  <a:cs typeface="Arial" panose="020B0604020202020204" pitchFamily="34" charset="0"/>
                </a:defRPr>
              </a:lvl3pPr>
              <a:lvl4pPr marL="360000" indent="-180000" algn="l" defTabSz="863995" rtl="0" eaLnBrk="1" latinLnBrk="0" hangingPunct="1">
                <a:lnSpc>
                  <a:spcPct val="120000"/>
                </a:lnSpc>
                <a:spcBef>
                  <a:spcPts val="800"/>
                </a:spcBef>
                <a:spcAft>
                  <a:spcPts val="0"/>
                </a:spcAft>
                <a:buClrTx/>
                <a:buFont typeface="Arial" panose="020B0604020202020204" pitchFamily="34" charset="0"/>
                <a:buChar char="•"/>
                <a:defRPr sz="1600" b="0" i="0" kern="1200">
                  <a:solidFill>
                    <a:srgbClr val="001A54"/>
                  </a:solidFill>
                  <a:latin typeface="+mn-lt"/>
                  <a:ea typeface="Aktiv Grotesk" panose="020B0504020202020204" pitchFamily="34" charset="0"/>
                  <a:cs typeface="Arial" panose="020B0604020202020204" pitchFamily="34" charset="0"/>
                </a:defRPr>
              </a:lvl4pPr>
              <a:lvl5pPr marL="540000" indent="-180000" algn="l" defTabSz="863995" rtl="0" eaLnBrk="1" latinLnBrk="0" hangingPunct="1">
                <a:lnSpc>
                  <a:spcPct val="120000"/>
                </a:lnSpc>
                <a:spcBef>
                  <a:spcPts val="800"/>
                </a:spcBef>
                <a:spcAft>
                  <a:spcPts val="0"/>
                </a:spcAft>
                <a:buClrTx/>
                <a:buFont typeface="Arial" panose="020B0604020202020204" pitchFamily="34" charset="0"/>
                <a:buChar char="•"/>
                <a:defRPr sz="1600" b="0" i="0" kern="1200">
                  <a:solidFill>
                    <a:srgbClr val="001A54"/>
                  </a:solidFill>
                  <a:latin typeface="+mn-lt"/>
                  <a:ea typeface="Aktiv Grotesk" panose="020B0504020202020204" pitchFamily="34" charset="0"/>
                  <a:cs typeface="Arial" panose="020B0604020202020204" pitchFamily="34" charset="0"/>
                </a:defRPr>
              </a:lvl5pPr>
              <a:lvl6pPr marL="2375986" indent="-215998" algn="l" defTabSz="86399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6pPr>
              <a:lvl7pPr marL="2807984" indent="-215998" algn="l" defTabSz="86399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7pPr>
              <a:lvl8pPr marL="3239981" indent="-215998" algn="l" defTabSz="86399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8pPr>
              <a:lvl9pPr marL="3671979" indent="-215998" algn="l" defTabSz="86399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9pPr>
            </a:lstStyle>
            <a:p>
              <a:pPr marL="0" marR="0" lvl="0" indent="0" algn="l" defTabSz="863995" rtl="0" eaLnBrk="1" fontAlgn="auto" latinLnBrk="0" hangingPunct="1">
                <a:lnSpc>
                  <a:spcPct val="120000"/>
                </a:lnSpc>
                <a:spcBef>
                  <a:spcPts val="800"/>
                </a:spcBef>
                <a:spcAft>
                  <a:spcPts val="0"/>
                </a:spcAft>
                <a:buClr>
                  <a:srgbClr val="001A54"/>
                </a:buClr>
                <a:buSzTx/>
                <a:buFontTx/>
                <a:buNone/>
                <a:tabLst/>
                <a:defRPr/>
              </a:pPr>
              <a:r>
                <a:rPr kumimoji="0" lang="en" sz="700" b="0" i="0" u="none" strike="noStrike" kern="1200" cap="none" spc="0" normalizeH="0" baseline="0" noProof="0">
                  <a:ln>
                    <a:noFill/>
                  </a:ln>
                  <a:solidFill>
                    <a:srgbClr val="FFFFFF"/>
                  </a:solidFill>
                  <a:effectLst/>
                  <a:uLnTx/>
                  <a:uFillTx/>
                  <a:latin typeface="Arial" panose="020B0604020202020204"/>
                  <a:cs typeface="Arial" panose="020B0604020202020204" pitchFamily="34" charset="0"/>
                </a:rPr>
                <a:t>Report obligation 09/26</a:t>
              </a:r>
            </a:p>
          </p:txBody>
        </p:sp>
        <p:cxnSp>
          <p:nvCxnSpPr>
            <p:cNvPr id="34" name="Gerader Verbinder 33">
              <a:extLst>
                <a:ext uri="{FF2B5EF4-FFF2-40B4-BE49-F238E27FC236}">
                  <a16:creationId xmlns:a16="http://schemas.microsoft.com/office/drawing/2014/main" id="{C4F828DA-083D-3024-1F72-461DE3187DA6}"/>
                </a:ext>
              </a:extLst>
            </p:cNvPr>
            <p:cNvCxnSpPr>
              <a:cxnSpLocks/>
            </p:cNvCxnSpPr>
            <p:nvPr/>
          </p:nvCxnSpPr>
          <p:spPr>
            <a:xfrm>
              <a:off x="9288636" y="3080349"/>
              <a:ext cx="1670526" cy="0"/>
            </a:xfrm>
            <a:prstGeom prst="line">
              <a:avLst/>
            </a:prstGeom>
            <a:ln w="19050" cmpd="sng">
              <a:solidFill>
                <a:srgbClr val="001A54"/>
              </a:solidFill>
              <a:prstDash val="solid"/>
              <a:headEnd type="oval" w="med" len="med"/>
              <a:tailEnd type="triangle" w="med" len="med"/>
            </a:ln>
          </p:spPr>
          <p:style>
            <a:lnRef idx="1">
              <a:schemeClr val="accent1"/>
            </a:lnRef>
            <a:fillRef idx="0">
              <a:schemeClr val="accent1"/>
            </a:fillRef>
            <a:effectRef idx="0">
              <a:schemeClr val="accent1"/>
            </a:effectRef>
            <a:fontRef idx="minor">
              <a:schemeClr val="tx1"/>
            </a:fontRef>
          </p:style>
        </p:cxnSp>
      </p:grpSp>
      <p:cxnSp>
        <p:nvCxnSpPr>
          <p:cNvPr id="46" name="Gerader Verbinder 45">
            <a:extLst>
              <a:ext uri="{FF2B5EF4-FFF2-40B4-BE49-F238E27FC236}">
                <a16:creationId xmlns:a16="http://schemas.microsoft.com/office/drawing/2014/main" id="{FC3017B0-69B4-37CE-2213-5E98AF6C8AC2}"/>
              </a:ext>
            </a:extLst>
          </p:cNvPr>
          <p:cNvCxnSpPr>
            <a:cxnSpLocks/>
          </p:cNvCxnSpPr>
          <p:nvPr/>
        </p:nvCxnSpPr>
        <p:spPr>
          <a:xfrm>
            <a:off x="6374121" y="1258607"/>
            <a:ext cx="1673057" cy="0"/>
          </a:xfrm>
          <a:prstGeom prst="line">
            <a:avLst/>
          </a:prstGeom>
          <a:ln w="19050" cmpd="sng">
            <a:solidFill>
              <a:srgbClr val="001A54"/>
            </a:solidFill>
            <a:prstDash val="solid"/>
            <a:headEnd type="oval" w="med" len="med"/>
            <a:tailEnd type="none" w="med" len="med"/>
          </a:ln>
        </p:spPr>
        <p:style>
          <a:lnRef idx="1">
            <a:schemeClr val="accent1"/>
          </a:lnRef>
          <a:fillRef idx="0">
            <a:schemeClr val="accent1"/>
          </a:fillRef>
          <a:effectRef idx="0">
            <a:schemeClr val="accent1"/>
          </a:effectRef>
          <a:fontRef idx="minor">
            <a:schemeClr val="tx1"/>
          </a:fontRef>
        </p:style>
      </p:cxnSp>
      <p:sp>
        <p:nvSpPr>
          <p:cNvPr id="84" name="Textbox">
            <a:extLst>
              <a:ext uri="{FF2B5EF4-FFF2-40B4-BE49-F238E27FC236}">
                <a16:creationId xmlns:a16="http://schemas.microsoft.com/office/drawing/2014/main" id="{02D7A3FE-715C-D529-7D9D-258AC039167C}"/>
              </a:ext>
            </a:extLst>
          </p:cNvPr>
          <p:cNvSpPr txBox="1">
            <a:spLocks/>
          </p:cNvSpPr>
          <p:nvPr>
            <p:custDataLst>
              <p:tags r:id="rId2"/>
            </p:custDataLst>
          </p:nvPr>
        </p:nvSpPr>
        <p:spPr>
          <a:xfrm>
            <a:off x="6346893" y="1115851"/>
            <a:ext cx="349455" cy="153756"/>
          </a:xfrm>
          <a:prstGeom prst="rect">
            <a:avLst/>
          </a:prstGeom>
          <a:noFill/>
          <a:extLst>
            <a:ext uri="{909E8E84-426E-40DD-AFC4-6F175D3DCCD1}">
              <a14:hiddenFill xmlns:a14="http://schemas.microsoft.com/office/drawing/2010/main">
                <a:solidFill>
                  <a:srgbClr val="001A54"/>
                </a:solidFill>
              </a14:hiddenFill>
            </a:ext>
          </a:extLst>
        </p:spPr>
        <p:txBody>
          <a:bodyPr vert="horz" wrap="none" lIns="0" tIns="0" rIns="0" bIns="36000" rtlCol="0">
            <a:spAutoFit/>
          </a:bodyPr>
          <a:lstStyle>
            <a:lvl1pPr marL="0" indent="0" algn="l" defTabSz="863995" rtl="0" eaLnBrk="1" latinLnBrk="0" hangingPunct="1">
              <a:lnSpc>
                <a:spcPct val="120000"/>
              </a:lnSpc>
              <a:spcBef>
                <a:spcPts val="1600"/>
              </a:spcBef>
              <a:spcAft>
                <a:spcPts val="0"/>
              </a:spcAft>
              <a:buClr>
                <a:schemeClr val="tx1"/>
              </a:buClr>
              <a:buFontTx/>
              <a:buNone/>
              <a:defRPr sz="1600" b="1" i="0" kern="1200">
                <a:solidFill>
                  <a:srgbClr val="001A54"/>
                </a:solidFill>
                <a:latin typeface="+mn-lt"/>
                <a:ea typeface="Aktiv Grotesk" panose="020B0504020202020204" pitchFamily="34" charset="0"/>
                <a:cs typeface="Arial" panose="020B0604020202020204" pitchFamily="34" charset="0"/>
              </a:defRPr>
            </a:lvl1pPr>
            <a:lvl2pPr marL="0" indent="0" algn="l" defTabSz="863995" rtl="0" eaLnBrk="1" latinLnBrk="0" hangingPunct="1">
              <a:lnSpc>
                <a:spcPct val="120000"/>
              </a:lnSpc>
              <a:spcBef>
                <a:spcPts val="800"/>
              </a:spcBef>
              <a:spcAft>
                <a:spcPts val="0"/>
              </a:spcAft>
              <a:buClr>
                <a:schemeClr val="tx1"/>
              </a:buClr>
              <a:buFontTx/>
              <a:buNone/>
              <a:defRPr sz="1600" b="0" i="0" kern="1200">
                <a:solidFill>
                  <a:srgbClr val="001A54"/>
                </a:solidFill>
                <a:latin typeface="+mn-lt"/>
                <a:ea typeface="Aktiv Grotesk" panose="020B0504020202020204" pitchFamily="34" charset="0"/>
                <a:cs typeface="Arial" panose="020B0604020202020204" pitchFamily="34" charset="0"/>
              </a:defRPr>
            </a:lvl2pPr>
            <a:lvl3pPr marL="180000" indent="-179388" algn="l" defTabSz="863995" rtl="0" eaLnBrk="1" latinLnBrk="0" hangingPunct="1">
              <a:lnSpc>
                <a:spcPct val="120000"/>
              </a:lnSpc>
              <a:spcBef>
                <a:spcPts val="800"/>
              </a:spcBef>
              <a:spcAft>
                <a:spcPts val="0"/>
              </a:spcAft>
              <a:buClrTx/>
              <a:buFont typeface="Arial" panose="020B0604020202020204" pitchFamily="34" charset="0"/>
              <a:buChar char="•"/>
              <a:defRPr sz="1600" b="0" i="0" kern="1200">
                <a:solidFill>
                  <a:srgbClr val="001A54"/>
                </a:solidFill>
                <a:latin typeface="+mn-lt"/>
                <a:ea typeface="Aktiv Grotesk" panose="020B0504020202020204" pitchFamily="34" charset="0"/>
                <a:cs typeface="Arial" panose="020B0604020202020204" pitchFamily="34" charset="0"/>
              </a:defRPr>
            </a:lvl3pPr>
            <a:lvl4pPr marL="360000" indent="-180000" algn="l" defTabSz="863995" rtl="0" eaLnBrk="1" latinLnBrk="0" hangingPunct="1">
              <a:lnSpc>
                <a:spcPct val="120000"/>
              </a:lnSpc>
              <a:spcBef>
                <a:spcPts val="800"/>
              </a:spcBef>
              <a:spcAft>
                <a:spcPts val="0"/>
              </a:spcAft>
              <a:buClrTx/>
              <a:buFont typeface="Arial" panose="020B0604020202020204" pitchFamily="34" charset="0"/>
              <a:buChar char="•"/>
              <a:defRPr sz="1600" b="0" i="0" kern="1200">
                <a:solidFill>
                  <a:srgbClr val="001A54"/>
                </a:solidFill>
                <a:latin typeface="+mn-lt"/>
                <a:ea typeface="Aktiv Grotesk" panose="020B0504020202020204" pitchFamily="34" charset="0"/>
                <a:cs typeface="Arial" panose="020B0604020202020204" pitchFamily="34" charset="0"/>
              </a:defRPr>
            </a:lvl4pPr>
            <a:lvl5pPr marL="540000" indent="-180000" algn="l" defTabSz="863995" rtl="0" eaLnBrk="1" latinLnBrk="0" hangingPunct="1">
              <a:lnSpc>
                <a:spcPct val="120000"/>
              </a:lnSpc>
              <a:spcBef>
                <a:spcPts val="800"/>
              </a:spcBef>
              <a:spcAft>
                <a:spcPts val="0"/>
              </a:spcAft>
              <a:buClrTx/>
              <a:buFont typeface="Arial" panose="020B0604020202020204" pitchFamily="34" charset="0"/>
              <a:buChar char="•"/>
              <a:defRPr sz="1600" b="0" i="0" kern="1200">
                <a:solidFill>
                  <a:srgbClr val="001A54"/>
                </a:solidFill>
                <a:latin typeface="+mn-lt"/>
                <a:ea typeface="Aktiv Grotesk" panose="020B0504020202020204" pitchFamily="34" charset="0"/>
                <a:cs typeface="Arial" panose="020B0604020202020204" pitchFamily="34" charset="0"/>
              </a:defRPr>
            </a:lvl5pPr>
            <a:lvl6pPr marL="2375986" indent="-215998" algn="l" defTabSz="86399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6pPr>
            <a:lvl7pPr marL="2807984" indent="-215998" algn="l" defTabSz="86399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7pPr>
            <a:lvl8pPr marL="3239981" indent="-215998" algn="l" defTabSz="86399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8pPr>
            <a:lvl9pPr marL="3671979" indent="-215998" algn="l" defTabSz="86399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9pPr>
          </a:lstStyle>
          <a:p>
            <a:pPr marL="0" marR="0" lvl="0" indent="0" algn="l" defTabSz="863995" rtl="0" eaLnBrk="1" fontAlgn="auto" latinLnBrk="0" hangingPunct="1">
              <a:lnSpc>
                <a:spcPct val="120000"/>
              </a:lnSpc>
              <a:spcBef>
                <a:spcPts val="800"/>
              </a:spcBef>
              <a:spcAft>
                <a:spcPts val="0"/>
              </a:spcAft>
              <a:buClr>
                <a:srgbClr val="001A54"/>
              </a:buClr>
              <a:buSzTx/>
              <a:buFontTx/>
              <a:buNone/>
              <a:tabLst/>
              <a:defRPr/>
            </a:pPr>
            <a:r>
              <a:rPr kumimoji="0" lang="en" sz="700" b="0" i="0" u="none" strike="noStrike" kern="1200" cap="none" spc="0" normalizeH="0" baseline="0" noProof="0" dirty="0">
                <a:ln>
                  <a:noFill/>
                </a:ln>
                <a:solidFill>
                  <a:schemeClr val="tx1"/>
                </a:solidFill>
                <a:effectLst/>
                <a:uLnTx/>
                <a:uFillTx/>
                <a:latin typeface="Arial" panose="020B0604020202020204"/>
                <a:cs typeface="Arial" panose="020B0604020202020204" pitchFamily="34" charset="0"/>
              </a:rPr>
              <a:t>WD 4/24</a:t>
            </a:r>
          </a:p>
        </p:txBody>
      </p:sp>
      <p:cxnSp>
        <p:nvCxnSpPr>
          <p:cNvPr id="39" name="Gerader Verbinder 38">
            <a:extLst>
              <a:ext uri="{FF2B5EF4-FFF2-40B4-BE49-F238E27FC236}">
                <a16:creationId xmlns:a16="http://schemas.microsoft.com/office/drawing/2014/main" id="{8B49CF92-A720-0461-83F4-A1A5B6C33975}"/>
              </a:ext>
            </a:extLst>
          </p:cNvPr>
          <p:cNvCxnSpPr>
            <a:cxnSpLocks/>
          </p:cNvCxnSpPr>
          <p:nvPr/>
        </p:nvCxnSpPr>
        <p:spPr>
          <a:xfrm>
            <a:off x="6984380" y="1258600"/>
            <a:ext cx="1035314" cy="0"/>
          </a:xfrm>
          <a:prstGeom prst="line">
            <a:avLst/>
          </a:prstGeom>
          <a:ln w="19050" cmpd="sng">
            <a:solidFill>
              <a:srgbClr val="001A54"/>
            </a:solidFill>
            <a:prstDash val="solid"/>
            <a:headEnd type="oval" w="med" len="med"/>
            <a:tailEnd type="none" w="med" len="med"/>
          </a:ln>
        </p:spPr>
        <p:style>
          <a:lnRef idx="1">
            <a:schemeClr val="accent1"/>
          </a:lnRef>
          <a:fillRef idx="0">
            <a:schemeClr val="accent1"/>
          </a:fillRef>
          <a:effectRef idx="0">
            <a:schemeClr val="accent1"/>
          </a:effectRef>
          <a:fontRef idx="minor">
            <a:schemeClr val="tx1"/>
          </a:fontRef>
        </p:style>
      </p:cxnSp>
      <p:sp>
        <p:nvSpPr>
          <p:cNvPr id="82" name="Textbox">
            <a:extLst>
              <a:ext uri="{FF2B5EF4-FFF2-40B4-BE49-F238E27FC236}">
                <a16:creationId xmlns:a16="http://schemas.microsoft.com/office/drawing/2014/main" id="{4532C26C-58B2-FD2E-C6B0-0EAD838AF547}"/>
              </a:ext>
            </a:extLst>
          </p:cNvPr>
          <p:cNvSpPr txBox="1">
            <a:spLocks/>
          </p:cNvSpPr>
          <p:nvPr>
            <p:custDataLst>
              <p:tags r:id="rId3"/>
            </p:custDataLst>
          </p:nvPr>
        </p:nvSpPr>
        <p:spPr>
          <a:xfrm>
            <a:off x="6999432" y="1115851"/>
            <a:ext cx="328616" cy="153756"/>
          </a:xfrm>
          <a:prstGeom prst="rect">
            <a:avLst/>
          </a:prstGeom>
          <a:noFill/>
          <a:extLst>
            <a:ext uri="{909E8E84-426E-40DD-AFC4-6F175D3DCCD1}">
              <a14:hiddenFill xmlns:a14="http://schemas.microsoft.com/office/drawing/2010/main">
                <a:solidFill>
                  <a:srgbClr val="001A54"/>
                </a:solidFill>
              </a14:hiddenFill>
            </a:ext>
          </a:extLst>
        </p:spPr>
        <p:txBody>
          <a:bodyPr vert="horz" wrap="none" lIns="0" tIns="0" rIns="0" bIns="36000" rtlCol="0">
            <a:spAutoFit/>
          </a:bodyPr>
          <a:lstStyle>
            <a:lvl1pPr marL="0" indent="0" algn="l" defTabSz="863995" rtl="0" eaLnBrk="1" latinLnBrk="0" hangingPunct="1">
              <a:lnSpc>
                <a:spcPct val="120000"/>
              </a:lnSpc>
              <a:spcBef>
                <a:spcPts val="1600"/>
              </a:spcBef>
              <a:spcAft>
                <a:spcPts val="0"/>
              </a:spcAft>
              <a:buClr>
                <a:schemeClr val="tx1"/>
              </a:buClr>
              <a:buFontTx/>
              <a:buNone/>
              <a:defRPr sz="1600" b="1" i="0" kern="1200">
                <a:solidFill>
                  <a:srgbClr val="001A54"/>
                </a:solidFill>
                <a:latin typeface="+mn-lt"/>
                <a:ea typeface="Aktiv Grotesk" panose="020B0504020202020204" pitchFamily="34" charset="0"/>
                <a:cs typeface="Arial" panose="020B0604020202020204" pitchFamily="34" charset="0"/>
              </a:defRPr>
            </a:lvl1pPr>
            <a:lvl2pPr marL="0" indent="0" algn="l" defTabSz="863995" rtl="0" eaLnBrk="1" latinLnBrk="0" hangingPunct="1">
              <a:lnSpc>
                <a:spcPct val="120000"/>
              </a:lnSpc>
              <a:spcBef>
                <a:spcPts val="800"/>
              </a:spcBef>
              <a:spcAft>
                <a:spcPts val="0"/>
              </a:spcAft>
              <a:buClr>
                <a:schemeClr val="tx1"/>
              </a:buClr>
              <a:buFontTx/>
              <a:buNone/>
              <a:defRPr sz="1600" b="0" i="0" kern="1200">
                <a:solidFill>
                  <a:srgbClr val="001A54"/>
                </a:solidFill>
                <a:latin typeface="+mn-lt"/>
                <a:ea typeface="Aktiv Grotesk" panose="020B0504020202020204" pitchFamily="34" charset="0"/>
                <a:cs typeface="Arial" panose="020B0604020202020204" pitchFamily="34" charset="0"/>
              </a:defRPr>
            </a:lvl2pPr>
            <a:lvl3pPr marL="180000" indent="-179388" algn="l" defTabSz="863995" rtl="0" eaLnBrk="1" latinLnBrk="0" hangingPunct="1">
              <a:lnSpc>
                <a:spcPct val="120000"/>
              </a:lnSpc>
              <a:spcBef>
                <a:spcPts val="800"/>
              </a:spcBef>
              <a:spcAft>
                <a:spcPts val="0"/>
              </a:spcAft>
              <a:buClrTx/>
              <a:buFont typeface="Arial" panose="020B0604020202020204" pitchFamily="34" charset="0"/>
              <a:buChar char="•"/>
              <a:defRPr sz="1600" b="0" i="0" kern="1200">
                <a:solidFill>
                  <a:srgbClr val="001A54"/>
                </a:solidFill>
                <a:latin typeface="+mn-lt"/>
                <a:ea typeface="Aktiv Grotesk" panose="020B0504020202020204" pitchFamily="34" charset="0"/>
                <a:cs typeface="Arial" panose="020B0604020202020204" pitchFamily="34" charset="0"/>
              </a:defRPr>
            </a:lvl3pPr>
            <a:lvl4pPr marL="360000" indent="-180000" algn="l" defTabSz="863995" rtl="0" eaLnBrk="1" latinLnBrk="0" hangingPunct="1">
              <a:lnSpc>
                <a:spcPct val="120000"/>
              </a:lnSpc>
              <a:spcBef>
                <a:spcPts val="800"/>
              </a:spcBef>
              <a:spcAft>
                <a:spcPts val="0"/>
              </a:spcAft>
              <a:buClrTx/>
              <a:buFont typeface="Arial" panose="020B0604020202020204" pitchFamily="34" charset="0"/>
              <a:buChar char="•"/>
              <a:defRPr sz="1600" b="0" i="0" kern="1200">
                <a:solidFill>
                  <a:srgbClr val="001A54"/>
                </a:solidFill>
                <a:latin typeface="+mn-lt"/>
                <a:ea typeface="Aktiv Grotesk" panose="020B0504020202020204" pitchFamily="34" charset="0"/>
                <a:cs typeface="Arial" panose="020B0604020202020204" pitchFamily="34" charset="0"/>
              </a:defRPr>
            </a:lvl4pPr>
            <a:lvl5pPr marL="540000" indent="-180000" algn="l" defTabSz="863995" rtl="0" eaLnBrk="1" latinLnBrk="0" hangingPunct="1">
              <a:lnSpc>
                <a:spcPct val="120000"/>
              </a:lnSpc>
              <a:spcBef>
                <a:spcPts val="800"/>
              </a:spcBef>
              <a:spcAft>
                <a:spcPts val="0"/>
              </a:spcAft>
              <a:buClrTx/>
              <a:buFont typeface="Arial" panose="020B0604020202020204" pitchFamily="34" charset="0"/>
              <a:buChar char="•"/>
              <a:defRPr sz="1600" b="0" i="0" kern="1200">
                <a:solidFill>
                  <a:srgbClr val="001A54"/>
                </a:solidFill>
                <a:latin typeface="+mn-lt"/>
                <a:ea typeface="Aktiv Grotesk" panose="020B0504020202020204" pitchFamily="34" charset="0"/>
                <a:cs typeface="Arial" panose="020B0604020202020204" pitchFamily="34" charset="0"/>
              </a:defRPr>
            </a:lvl5pPr>
            <a:lvl6pPr marL="2375986" indent="-215998" algn="l" defTabSz="86399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6pPr>
            <a:lvl7pPr marL="2807984" indent="-215998" algn="l" defTabSz="86399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7pPr>
            <a:lvl8pPr marL="3239981" indent="-215998" algn="l" defTabSz="86399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8pPr>
            <a:lvl9pPr marL="3671979" indent="-215998" algn="l" defTabSz="86399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9pPr>
          </a:lstStyle>
          <a:p>
            <a:pPr marL="0" marR="0" lvl="0" indent="0" algn="l" defTabSz="863995" rtl="0" eaLnBrk="1" fontAlgn="auto" latinLnBrk="0" hangingPunct="1">
              <a:lnSpc>
                <a:spcPct val="120000"/>
              </a:lnSpc>
              <a:spcBef>
                <a:spcPts val="800"/>
              </a:spcBef>
              <a:spcAft>
                <a:spcPts val="0"/>
              </a:spcAft>
              <a:buClr>
                <a:srgbClr val="001A54"/>
              </a:buClr>
              <a:buSzTx/>
              <a:buFontTx/>
              <a:buNone/>
              <a:tabLst/>
              <a:defRPr/>
            </a:pPr>
            <a:r>
              <a:rPr kumimoji="0" lang="en" sz="700" b="0" i="0" u="none" strike="noStrike" kern="1200" cap="none" spc="0" normalizeH="0" baseline="0" noProof="0" dirty="0">
                <a:ln>
                  <a:noFill/>
                </a:ln>
                <a:solidFill>
                  <a:schemeClr val="tx1"/>
                </a:solidFill>
                <a:effectLst/>
                <a:uLnTx/>
                <a:uFillTx/>
                <a:latin typeface="Arial" panose="020B0604020202020204"/>
                <a:cs typeface="Arial" panose="020B0604020202020204" pitchFamily="34" charset="0"/>
              </a:rPr>
              <a:t>CD 1/25</a:t>
            </a:r>
          </a:p>
        </p:txBody>
      </p:sp>
      <p:sp>
        <p:nvSpPr>
          <p:cNvPr id="20" name="Footer Placeholder 2">
            <a:extLst>
              <a:ext uri="{FF2B5EF4-FFF2-40B4-BE49-F238E27FC236}">
                <a16:creationId xmlns:a16="http://schemas.microsoft.com/office/drawing/2014/main" id="{91B2EF17-4C5A-F448-31FC-E7D28F223870}"/>
              </a:ext>
            </a:extLst>
          </p:cNvPr>
          <p:cNvSpPr>
            <a:spLocks noGrp="1"/>
          </p:cNvSpPr>
          <p:nvPr>
            <p:ph type="ftr" sz="quarter" idx="10"/>
          </p:nvPr>
        </p:nvSpPr>
        <p:spPr>
          <a:xfrm>
            <a:off x="972123" y="6048375"/>
            <a:ext cx="4608513" cy="179364"/>
          </a:xfrm>
        </p:spPr>
        <p:txBody>
          <a:bodyPr/>
          <a:lstStyle/>
          <a:p>
            <a:r>
              <a:rPr lang="en-US" dirty="0"/>
              <a:t>IAV  05/2025  IAVJ  DKO  Status: draft, confidential</a:t>
            </a:r>
          </a:p>
        </p:txBody>
      </p:sp>
    </p:spTree>
    <p:custDataLst>
      <p:tags r:id="rId1"/>
    </p:custDataLst>
    <p:extLst>
      <p:ext uri="{BB962C8B-B14F-4D97-AF65-F5344CB8AC3E}">
        <p14:creationId xmlns:p14="http://schemas.microsoft.com/office/powerpoint/2010/main" val="158738609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0B86E2-5550-2E07-E855-FDF0307D37AF}"/>
            </a:ext>
          </a:extLst>
        </p:cNvPr>
        <p:cNvGrpSpPr/>
        <p:nvPr/>
      </p:nvGrpSpPr>
      <p:grpSpPr>
        <a:xfrm>
          <a:off x="0" y="0"/>
          <a:ext cx="0" cy="0"/>
          <a:chOff x="0" y="0"/>
          <a:chExt cx="0" cy="0"/>
        </a:xfrm>
      </p:grpSpPr>
      <p:sp>
        <p:nvSpPr>
          <p:cNvPr id="4" name="Titel 3">
            <a:extLst>
              <a:ext uri="{FF2B5EF4-FFF2-40B4-BE49-F238E27FC236}">
                <a16:creationId xmlns:a16="http://schemas.microsoft.com/office/drawing/2014/main" id="{5D8AA502-9B33-E1BF-08C6-67B9F7D5453A}"/>
              </a:ext>
            </a:extLst>
          </p:cNvPr>
          <p:cNvSpPr>
            <a:spLocks noGrp="1"/>
          </p:cNvSpPr>
          <p:nvPr>
            <p:ph type="title"/>
          </p:nvPr>
        </p:nvSpPr>
        <p:spPr>
          <a:xfrm>
            <a:off x="539750" y="359767"/>
            <a:ext cx="10440988" cy="361875"/>
          </a:xfrm>
        </p:spPr>
        <p:txBody>
          <a:bodyPr/>
          <a:lstStyle/>
          <a:p>
            <a:r>
              <a:rPr lang="en" dirty="0"/>
              <a:t>Cybersecurity – R155 vs. CRA vs. GB-44495 (1)</a:t>
            </a:r>
          </a:p>
        </p:txBody>
      </p:sp>
      <p:sp>
        <p:nvSpPr>
          <p:cNvPr id="2" name="Foliennummernplatzhalter 1">
            <a:extLst>
              <a:ext uri="{FF2B5EF4-FFF2-40B4-BE49-F238E27FC236}">
                <a16:creationId xmlns:a16="http://schemas.microsoft.com/office/drawing/2014/main" id="{FE82F313-5CEE-4DA1-E021-B677DCBFD552}"/>
              </a:ext>
            </a:extLst>
          </p:cNvPr>
          <p:cNvSpPr>
            <a:spLocks noGrp="1"/>
          </p:cNvSpPr>
          <p:nvPr>
            <p:ph type="sldNum" sz="quarter" idx="11"/>
          </p:nvPr>
        </p:nvSpPr>
        <p:spPr>
          <a:xfrm>
            <a:off x="539664" y="6048399"/>
            <a:ext cx="360000" cy="179364"/>
          </a:xfrm>
        </p:spPr>
        <p:txBody>
          <a:bodyPr/>
          <a:lstStyle/>
          <a:p>
            <a:fld id="{DD6C52D8-AF7F-4297-9A35-2617B7FF1801}" type="slidenum">
              <a:rPr lang="en-US" smtClean="0"/>
              <a:pPr/>
              <a:t>14</a:t>
            </a:fld>
            <a:endParaRPr lang="en-US"/>
          </a:p>
        </p:txBody>
      </p:sp>
      <p:sp>
        <p:nvSpPr>
          <p:cNvPr id="19" name="masterSource">
            <a:extLst>
              <a:ext uri="{FF2B5EF4-FFF2-40B4-BE49-F238E27FC236}">
                <a16:creationId xmlns:a16="http://schemas.microsoft.com/office/drawing/2014/main" id="{197E7C45-60FB-F4EE-B9BA-746F242458D7}"/>
              </a:ext>
            </a:extLst>
          </p:cNvPr>
          <p:cNvSpPr txBox="1"/>
          <p:nvPr>
            <p:custDataLst>
              <p:tags r:id="rId2"/>
            </p:custDataLst>
          </p:nvPr>
        </p:nvSpPr>
        <p:spPr bwMode="gray">
          <a:xfrm>
            <a:off x="539750" y="5724463"/>
            <a:ext cx="0" cy="108012"/>
          </a:xfrm>
          <a:prstGeom prst="rect">
            <a:avLst/>
          </a:prstGeom>
          <a:solidFill>
            <a:srgbClr val="FFFFFF"/>
          </a:solidFill>
        </p:spPr>
        <p:txBody>
          <a:bodyPr vert="horz" wrap="none" lIns="0" tIns="0" rIns="0" bIns="0" rtlCol="0" anchor="b">
            <a:noAutofit/>
          </a:bodyPr>
          <a:lstStyle>
            <a:defPPr>
              <a:defRPr lang="de-DE"/>
            </a:defPPr>
            <a:lvl1pPr>
              <a:defRPr sz="700">
                <a:solidFill>
                  <a:srgbClr val="000000"/>
                </a:solidFill>
                <a:latin typeface="Arial" panose="020B0604020202020204" pitchFamily="34" charset="0"/>
                <a:cs typeface="Arial" panose="020B0604020202020204" pitchFamily="34" charset="0"/>
              </a:defRPr>
            </a:lvl1pPr>
          </a:lstStyle>
          <a:p>
            <a:endParaRPr lang="en-US" dirty="0">
              <a:solidFill>
                <a:srgbClr val="001A54"/>
              </a:solidFill>
            </a:endParaRPr>
          </a:p>
        </p:txBody>
      </p:sp>
      <p:graphicFrame>
        <p:nvGraphicFramePr>
          <p:cNvPr id="5" name="masterTableStyle1">
            <a:extLst>
              <a:ext uri="{FF2B5EF4-FFF2-40B4-BE49-F238E27FC236}">
                <a16:creationId xmlns:a16="http://schemas.microsoft.com/office/drawing/2014/main" id="{22813A92-209B-454E-0298-4F1BB6FB5543}"/>
              </a:ext>
            </a:extLst>
          </p:cNvPr>
          <p:cNvGraphicFramePr>
            <a:graphicFrameLocks noGrp="1"/>
          </p:cNvGraphicFramePr>
          <p:nvPr>
            <p:custDataLst>
              <p:tags r:id="rId3"/>
            </p:custDataLst>
            <p:extLst>
              <p:ext uri="{D42A27DB-BD31-4B8C-83A1-F6EECF244321}">
                <p14:modId xmlns:p14="http://schemas.microsoft.com/office/powerpoint/2010/main" val="2223785902"/>
              </p:ext>
            </p:extLst>
          </p:nvPr>
        </p:nvGraphicFramePr>
        <p:xfrm>
          <a:off x="539750" y="935831"/>
          <a:ext cx="10437406" cy="2828880"/>
        </p:xfrm>
        <a:graphic>
          <a:graphicData uri="http://schemas.openxmlformats.org/drawingml/2006/table">
            <a:tbl>
              <a:tblPr firstRow="1" bandRow="1">
                <a:tableStyleId>{5C22544A-7EE6-4342-B048-85BDC9FD1C3A}</a:tableStyleId>
              </a:tblPr>
              <a:tblGrid>
                <a:gridCol w="1827040">
                  <a:extLst>
                    <a:ext uri="{9D8B030D-6E8A-4147-A177-3AD203B41FA5}">
                      <a16:colId xmlns:a16="http://schemas.microsoft.com/office/drawing/2014/main" val="20002"/>
                    </a:ext>
                  </a:extLst>
                </a:gridCol>
                <a:gridCol w="2870122">
                  <a:extLst>
                    <a:ext uri="{9D8B030D-6E8A-4147-A177-3AD203B41FA5}">
                      <a16:colId xmlns:a16="http://schemas.microsoft.com/office/drawing/2014/main" val="1903911206"/>
                    </a:ext>
                  </a:extLst>
                </a:gridCol>
                <a:gridCol w="2870122">
                  <a:extLst>
                    <a:ext uri="{9D8B030D-6E8A-4147-A177-3AD203B41FA5}">
                      <a16:colId xmlns:a16="http://schemas.microsoft.com/office/drawing/2014/main" val="1726794915"/>
                    </a:ext>
                  </a:extLst>
                </a:gridCol>
                <a:gridCol w="2870122">
                  <a:extLst>
                    <a:ext uri="{9D8B030D-6E8A-4147-A177-3AD203B41FA5}">
                      <a16:colId xmlns:a16="http://schemas.microsoft.com/office/drawing/2014/main" val="2632006544"/>
                    </a:ext>
                  </a:extLst>
                </a:gridCol>
              </a:tblGrid>
              <a:tr h="360000">
                <a:tc>
                  <a:txBody>
                    <a:bodyPr/>
                    <a:lstStyle/>
                    <a:p>
                      <a:r>
                        <a:rPr lang="en" sz="1600">
                          <a:solidFill>
                            <a:srgbClr val="001A54"/>
                          </a:solidFill>
                        </a:rPr>
                        <a:t>Topic</a:t>
                      </a:r>
                    </a:p>
                  </a:txBody>
                  <a:tcPr>
                    <a:lnL w="57150" cap="flat" cmpd="sng" algn="ctr">
                      <a:noFill/>
                      <a:prstDash val="solid"/>
                      <a:round/>
                      <a:headEnd type="none" w="med" len="med"/>
                      <a:tailEnd type="none" w="med" len="med"/>
                    </a:lnL>
                    <a:lnR w="12700" cmpd="sng">
                      <a:noFill/>
                    </a:lnR>
                    <a:lnT w="12700" cmpd="sng">
                      <a:noFill/>
                    </a:lnT>
                    <a:lnB w="6350" cap="flat" cmpd="sng" algn="ctr">
                      <a:solidFill>
                        <a:srgbClr val="001A54"/>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 sz="1600" dirty="0">
                          <a:solidFill>
                            <a:srgbClr val="001A54"/>
                          </a:solidFill>
                        </a:rPr>
                        <a:t>UN R155</a:t>
                      </a:r>
                    </a:p>
                  </a:txBody>
                  <a:tcPr>
                    <a:lnL w="57150" cap="flat" cmpd="sng" algn="ctr">
                      <a:noFill/>
                      <a:prstDash val="solid"/>
                      <a:round/>
                      <a:headEnd type="none" w="med" len="med"/>
                      <a:tailEnd type="none" w="med" len="med"/>
                    </a:lnL>
                    <a:lnR w="12700" cmpd="sng">
                      <a:noFill/>
                    </a:lnR>
                    <a:lnT w="12700" cmpd="sng">
                      <a:noFill/>
                    </a:lnT>
                    <a:lnB w="6350" cap="flat" cmpd="sng" algn="ctr">
                      <a:solidFill>
                        <a:srgbClr val="001A54"/>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 sz="1600" dirty="0">
                          <a:solidFill>
                            <a:srgbClr val="001A54"/>
                          </a:solidFill>
                        </a:rPr>
                        <a:t>CRA</a:t>
                      </a:r>
                    </a:p>
                  </a:txBody>
                  <a:tcPr>
                    <a:lnL w="57150" cap="flat" cmpd="sng" algn="ctr">
                      <a:noFill/>
                      <a:prstDash val="solid"/>
                      <a:round/>
                      <a:headEnd type="none" w="med" len="med"/>
                      <a:tailEnd type="none" w="med" len="med"/>
                    </a:lnL>
                    <a:lnR w="12700" cmpd="sng">
                      <a:noFill/>
                    </a:lnR>
                    <a:lnT w="12700" cmpd="sng">
                      <a:noFill/>
                    </a:lnT>
                    <a:lnB w="6350" cap="flat" cmpd="sng" algn="ctr">
                      <a:solidFill>
                        <a:srgbClr val="001A54"/>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 sz="1600" dirty="0">
                          <a:solidFill>
                            <a:srgbClr val="001A54"/>
                          </a:solidFill>
                        </a:rPr>
                        <a:t>GB-44495</a:t>
                      </a:r>
                    </a:p>
                  </a:txBody>
                  <a:tcPr>
                    <a:lnL w="57150" cap="flat" cmpd="sng" algn="ctr">
                      <a:noFill/>
                      <a:prstDash val="solid"/>
                      <a:round/>
                      <a:headEnd type="none" w="med" len="med"/>
                      <a:tailEnd type="none" w="med" len="med"/>
                    </a:lnL>
                    <a:lnR w="12700" cmpd="sng">
                      <a:noFill/>
                    </a:lnR>
                    <a:lnT w="12700" cmpd="sng">
                      <a:noFill/>
                    </a:lnT>
                    <a:lnB w="6350" cap="flat" cmpd="sng" algn="ctr">
                      <a:solidFill>
                        <a:srgbClr val="001A54"/>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0"/>
                  </a:ext>
                </a:extLst>
              </a:tr>
              <a:tr h="360000">
                <a:tc>
                  <a:txBody>
                    <a:bodyPr/>
                    <a:lstStyle/>
                    <a:p>
                      <a:r>
                        <a:rPr lang="en" sz="1600" b="1" dirty="0"/>
                        <a:t>Products effected</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001A54"/>
                      </a:solidFill>
                      <a:prstDash val="solid"/>
                      <a:round/>
                      <a:headEnd type="none" w="med" len="med"/>
                      <a:tailEnd type="none" w="med" len="med"/>
                    </a:lnT>
                    <a:lnB w="6350" cap="flat" cmpd="sng" algn="ctr">
                      <a:solidFill>
                        <a:srgbClr val="001A54"/>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 sz="1600" dirty="0"/>
                        <a:t>Road vehicles (M, N, O (at least one ECU), </a:t>
                      </a:r>
                      <a:r>
                        <a:rPr lang="en" sz="1600" dirty="0">
                          <a:solidFill>
                            <a:schemeClr val="accent5"/>
                          </a:solidFill>
                        </a:rPr>
                        <a:t>L</a:t>
                      </a:r>
                      <a:r>
                        <a:rPr lang="en" sz="1600" dirty="0"/>
                        <a:t>)</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001A54"/>
                      </a:solidFill>
                      <a:prstDash val="solid"/>
                      <a:round/>
                      <a:headEnd type="none" w="med" len="med"/>
                      <a:tailEnd type="none" w="med" len="med"/>
                    </a:lnT>
                    <a:lnB w="6350" cap="flat" cmpd="sng" algn="ctr">
                      <a:solidFill>
                        <a:srgbClr val="001A54"/>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 sz="1600"/>
                        <a:t>Products with digital elements</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001A54"/>
                      </a:solidFill>
                      <a:prstDash val="solid"/>
                      <a:round/>
                      <a:headEnd type="none" w="med" len="med"/>
                      <a:tailEnd type="none" w="med" len="med"/>
                    </a:lnT>
                    <a:lnB w="6350" cap="flat" cmpd="sng" algn="ctr">
                      <a:solidFill>
                        <a:srgbClr val="001A54"/>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 sz="1600" dirty="0"/>
                        <a:t>Road vehicles (M, N, O (at least one ECU))</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001A54"/>
                      </a:solidFill>
                      <a:prstDash val="solid"/>
                      <a:round/>
                      <a:headEnd type="none" w="med" len="med"/>
                      <a:tailEnd type="none" w="med" len="med"/>
                    </a:lnT>
                    <a:lnB w="6350" cap="flat" cmpd="sng" algn="ctr">
                      <a:solidFill>
                        <a:srgbClr val="001A54"/>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60000">
                <a:tc>
                  <a:txBody>
                    <a:bodyPr/>
                    <a:lstStyle/>
                    <a:p>
                      <a:r>
                        <a:rPr lang="en" sz="1600" b="1" dirty="0"/>
                        <a:t>Required management system</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001A54"/>
                      </a:solidFill>
                      <a:prstDash val="solid"/>
                      <a:round/>
                      <a:headEnd type="none" w="med" len="med"/>
                      <a:tailEnd type="none" w="med" len="med"/>
                    </a:lnT>
                    <a:lnB w="6350" cap="flat" cmpd="sng" algn="ctr">
                      <a:solidFill>
                        <a:srgbClr val="001A54"/>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 sz="1600" dirty="0"/>
                        <a:t>Mandates formal </a:t>
                      </a:r>
                      <a:r>
                        <a:rPr lang="en" sz="1600" dirty="0">
                          <a:solidFill>
                            <a:schemeClr val="accent5"/>
                          </a:solidFill>
                        </a:rPr>
                        <a:t>CSMS certification</a:t>
                      </a:r>
                      <a:r>
                        <a:rPr lang="en" sz="1600" dirty="0">
                          <a:solidFill>
                            <a:schemeClr val="tx1"/>
                          </a:solidFill>
                        </a:rPr>
                        <a:t>, renewal every 3 years</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001A54"/>
                      </a:solidFill>
                      <a:prstDash val="solid"/>
                      <a:round/>
                      <a:headEnd type="none" w="med" len="med"/>
                      <a:tailEnd type="none" w="med" len="med"/>
                    </a:lnT>
                    <a:lnB w="6350" cap="flat" cmpd="sng" algn="ctr">
                      <a:solidFill>
                        <a:srgbClr val="001A54"/>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 sz="1600" dirty="0">
                          <a:solidFill>
                            <a:schemeClr val="tx1"/>
                          </a:solidFill>
                        </a:rPr>
                        <a:t>Approved </a:t>
                      </a:r>
                      <a:r>
                        <a:rPr lang="en" sz="1600" dirty="0">
                          <a:solidFill>
                            <a:schemeClr val="accent2"/>
                          </a:solidFill>
                        </a:rPr>
                        <a:t>quality system</a:t>
                      </a:r>
                      <a:r>
                        <a:rPr lang="en" sz="1600" dirty="0">
                          <a:solidFill>
                            <a:schemeClr val="tx1"/>
                          </a:solidFill>
                        </a:rPr>
                        <a:t> would be sufficient</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001A54"/>
                      </a:solidFill>
                      <a:prstDash val="solid"/>
                      <a:round/>
                      <a:headEnd type="none" w="med" len="med"/>
                      <a:tailEnd type="none" w="med" len="med"/>
                    </a:lnT>
                    <a:lnB w="6350" cap="flat" cmpd="sng" algn="ctr">
                      <a:solidFill>
                        <a:srgbClr val="001A54"/>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US" sz="1600" dirty="0">
                          <a:solidFill>
                            <a:schemeClr val="tx1"/>
                          </a:solidFill>
                        </a:rPr>
                        <a:t>Requires CSMS audit but </a:t>
                      </a:r>
                      <a:r>
                        <a:rPr lang="en-US" sz="1600" dirty="0">
                          <a:solidFill>
                            <a:schemeClr val="accent2"/>
                          </a:solidFill>
                        </a:rPr>
                        <a:t>does not issue certificate</a:t>
                      </a:r>
                      <a:r>
                        <a:rPr lang="en-US" sz="1600" dirty="0">
                          <a:solidFill>
                            <a:schemeClr val="tx1"/>
                          </a:solidFill>
                        </a:rPr>
                        <a:t>, expects renewal every 3 years</a:t>
                      </a:r>
                      <a:endParaRPr lang="en" sz="1600" dirty="0">
                        <a:solidFill>
                          <a:schemeClr val="tx1"/>
                        </a:solidFill>
                      </a:endParaRP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001A54"/>
                      </a:solidFill>
                      <a:prstDash val="solid"/>
                      <a:round/>
                      <a:headEnd type="none" w="med" len="med"/>
                      <a:tailEnd type="none" w="med" len="med"/>
                    </a:lnT>
                    <a:lnB w="6350" cap="flat" cmpd="sng" algn="ctr">
                      <a:solidFill>
                        <a:srgbClr val="001A54"/>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423308089"/>
                  </a:ext>
                </a:extLst>
              </a:tr>
              <a:tr h="360000">
                <a:tc>
                  <a:txBody>
                    <a:bodyPr/>
                    <a:lstStyle/>
                    <a:p>
                      <a:r>
                        <a:rPr lang="en" sz="1600" b="1" dirty="0"/>
                        <a:t>Risk assessment</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001A54"/>
                      </a:solidFill>
                      <a:prstDash val="solid"/>
                      <a:round/>
                      <a:headEnd type="none" w="med" len="med"/>
                      <a:tailEnd type="none" w="med" len="med"/>
                    </a:lnT>
                    <a:lnB w="6350" cap="flat" cmpd="sng" algn="ctr">
                      <a:solidFill>
                        <a:srgbClr val="001A54"/>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 sz="1600" dirty="0"/>
                        <a:t>Risk assessment as part of CSMS alongside with mitigation</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001A54"/>
                      </a:solidFill>
                      <a:prstDash val="solid"/>
                      <a:round/>
                      <a:headEnd type="none" w="med" len="med"/>
                      <a:tailEnd type="none" w="med" len="med"/>
                    </a:lnT>
                    <a:lnB w="6350" cap="flat" cmpd="sng" algn="ctr">
                      <a:solidFill>
                        <a:srgbClr val="001A54"/>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 sz="1600" kern="1200" dirty="0">
                          <a:solidFill>
                            <a:schemeClr val="accent2"/>
                          </a:solidFill>
                          <a:latin typeface="+mn-lt"/>
                          <a:ea typeface="+mn-ea"/>
                          <a:cs typeface="+mn-cs"/>
                        </a:rPr>
                        <a:t>Simple risk</a:t>
                      </a:r>
                      <a:r>
                        <a:rPr lang="en-US" sz="1600" kern="1200" dirty="0">
                          <a:solidFill>
                            <a:schemeClr val="accent2"/>
                          </a:solidFill>
                          <a:latin typeface="+mn-lt"/>
                          <a:ea typeface="+mn-ea"/>
                          <a:cs typeface="+mn-cs"/>
                        </a:rPr>
                        <a:t> assessment</a:t>
                      </a:r>
                      <a:r>
                        <a:rPr lang="en" sz="1600" kern="1200" dirty="0">
                          <a:solidFill>
                            <a:schemeClr val="accent2"/>
                          </a:solidFill>
                          <a:latin typeface="+mn-lt"/>
                          <a:ea typeface="+mn-ea"/>
                          <a:cs typeface="+mn-cs"/>
                        </a:rPr>
                        <a:t> sufficient</a:t>
                      </a:r>
                      <a:r>
                        <a:rPr lang="en" sz="1600" dirty="0"/>
                        <a:t>; needs to be part of technical documentation</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001A54"/>
                      </a:solidFill>
                      <a:prstDash val="solid"/>
                      <a:round/>
                      <a:headEnd type="none" w="med" len="med"/>
                      <a:tailEnd type="none" w="med" len="med"/>
                    </a:lnT>
                    <a:lnB w="6350" cap="flat" cmpd="sng" algn="ctr">
                      <a:solidFill>
                        <a:srgbClr val="001A54"/>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US" sz="1600" dirty="0"/>
                        <a:t>Requires r</a:t>
                      </a:r>
                      <a:r>
                        <a:rPr lang="en" sz="1600" dirty="0"/>
                        <a:t>isk assessment</a:t>
                      </a:r>
                      <a:r>
                        <a:rPr lang="en-US" sz="1600" dirty="0"/>
                        <a:t> of threats and vulnerabilities for products and systems</a:t>
                      </a:r>
                      <a:endParaRPr lang="en" sz="1600" dirty="0"/>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001A54"/>
                      </a:solidFill>
                      <a:prstDash val="solid"/>
                      <a:round/>
                      <a:headEnd type="none" w="med" len="med"/>
                      <a:tailEnd type="none" w="med" len="med"/>
                    </a:lnT>
                    <a:lnB w="6350" cap="flat" cmpd="sng" algn="ctr">
                      <a:solidFill>
                        <a:srgbClr val="001A54"/>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927246660"/>
                  </a:ext>
                </a:extLst>
              </a:tr>
            </a:tbl>
          </a:graphicData>
        </a:graphic>
      </p:graphicFrame>
      <p:sp>
        <p:nvSpPr>
          <p:cNvPr id="3" name="TextBox 2">
            <a:extLst>
              <a:ext uri="{FF2B5EF4-FFF2-40B4-BE49-F238E27FC236}">
                <a16:creationId xmlns:a16="http://schemas.microsoft.com/office/drawing/2014/main" id="{52CB6829-7455-86A7-E448-11B556A9E8C4}"/>
              </a:ext>
            </a:extLst>
          </p:cNvPr>
          <p:cNvSpPr txBox="1"/>
          <p:nvPr/>
        </p:nvSpPr>
        <p:spPr>
          <a:xfrm>
            <a:off x="9973039" y="76927"/>
            <a:ext cx="1007699" cy="751809"/>
          </a:xfrm>
          <a:prstGeom prst="rect">
            <a:avLst/>
          </a:prstGeom>
          <a:noFill/>
          <a:ln>
            <a:solidFill>
              <a:srgbClr val="001A54"/>
            </a:solidFill>
          </a:ln>
        </p:spPr>
        <p:txBody>
          <a:bodyPr wrap="square" lIns="91440" tIns="0" rIns="0" bIns="0" rtlCol="0">
            <a:spAutoFit/>
          </a:bodyPr>
          <a:lstStyle/>
          <a:p>
            <a:pPr algn="l">
              <a:lnSpc>
                <a:spcPct val="120000"/>
              </a:lnSpc>
            </a:pPr>
            <a:r>
              <a:rPr lang="en-US" sz="1400" b="1" dirty="0"/>
              <a:t>Legend:</a:t>
            </a:r>
          </a:p>
          <a:p>
            <a:pPr algn="l">
              <a:lnSpc>
                <a:spcPct val="120000"/>
              </a:lnSpc>
            </a:pPr>
            <a:r>
              <a:rPr lang="en-US" sz="1400" dirty="0">
                <a:solidFill>
                  <a:schemeClr val="accent2"/>
                </a:solidFill>
              </a:rPr>
              <a:t>Less strict</a:t>
            </a:r>
          </a:p>
          <a:p>
            <a:pPr algn="l">
              <a:lnSpc>
                <a:spcPct val="120000"/>
              </a:lnSpc>
            </a:pPr>
            <a:r>
              <a:rPr lang="en-US" sz="1400" dirty="0">
                <a:solidFill>
                  <a:schemeClr val="accent5"/>
                </a:solidFill>
              </a:rPr>
              <a:t>More strict</a:t>
            </a:r>
          </a:p>
        </p:txBody>
      </p:sp>
      <p:sp>
        <p:nvSpPr>
          <p:cNvPr id="6" name="Footer Placeholder 2">
            <a:extLst>
              <a:ext uri="{FF2B5EF4-FFF2-40B4-BE49-F238E27FC236}">
                <a16:creationId xmlns:a16="http://schemas.microsoft.com/office/drawing/2014/main" id="{01637F50-E97E-3578-F189-B393986E7325}"/>
              </a:ext>
            </a:extLst>
          </p:cNvPr>
          <p:cNvSpPr>
            <a:spLocks noGrp="1"/>
          </p:cNvSpPr>
          <p:nvPr>
            <p:ph type="ftr" sz="quarter" idx="10"/>
          </p:nvPr>
        </p:nvSpPr>
        <p:spPr>
          <a:xfrm>
            <a:off x="972123" y="6048375"/>
            <a:ext cx="4608513" cy="179364"/>
          </a:xfrm>
        </p:spPr>
        <p:txBody>
          <a:bodyPr/>
          <a:lstStyle/>
          <a:p>
            <a:r>
              <a:rPr lang="en-US" dirty="0"/>
              <a:t>IAV  05/2025  IAVJ  DKO  Status: draft, confidential</a:t>
            </a:r>
          </a:p>
        </p:txBody>
      </p:sp>
    </p:spTree>
    <p:custDataLst>
      <p:tags r:id="rId1"/>
    </p:custDataLst>
    <p:extLst>
      <p:ext uri="{BB962C8B-B14F-4D97-AF65-F5344CB8AC3E}">
        <p14:creationId xmlns:p14="http://schemas.microsoft.com/office/powerpoint/2010/main" val="76757438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80750A73-FDEC-4A78-A501-53D5BE0CA08C}"/>
              </a:ext>
            </a:extLst>
          </p:cNvPr>
          <p:cNvSpPr>
            <a:spLocks noGrp="1"/>
          </p:cNvSpPr>
          <p:nvPr>
            <p:ph type="title"/>
          </p:nvPr>
        </p:nvSpPr>
        <p:spPr>
          <a:xfrm>
            <a:off x="539750" y="359767"/>
            <a:ext cx="10440988" cy="361875"/>
          </a:xfrm>
        </p:spPr>
        <p:txBody>
          <a:bodyPr/>
          <a:lstStyle/>
          <a:p>
            <a:r>
              <a:rPr lang="en" dirty="0"/>
              <a:t>Cybersecurity – R155 vs. CRA vs. GB-44495 (2)</a:t>
            </a:r>
          </a:p>
        </p:txBody>
      </p:sp>
      <p:sp>
        <p:nvSpPr>
          <p:cNvPr id="2" name="Foliennummernplatzhalter 1">
            <a:extLst>
              <a:ext uri="{FF2B5EF4-FFF2-40B4-BE49-F238E27FC236}">
                <a16:creationId xmlns:a16="http://schemas.microsoft.com/office/drawing/2014/main" id="{F260C8F5-A3B9-9505-06F3-6299EB489008}"/>
              </a:ext>
            </a:extLst>
          </p:cNvPr>
          <p:cNvSpPr>
            <a:spLocks noGrp="1"/>
          </p:cNvSpPr>
          <p:nvPr>
            <p:ph type="sldNum" sz="quarter" idx="11"/>
          </p:nvPr>
        </p:nvSpPr>
        <p:spPr>
          <a:xfrm>
            <a:off x="539664" y="6048399"/>
            <a:ext cx="360000" cy="179364"/>
          </a:xfrm>
        </p:spPr>
        <p:txBody>
          <a:bodyPr/>
          <a:lstStyle/>
          <a:p>
            <a:fld id="{DD6C52D8-AF7F-4297-9A35-2617B7FF1801}" type="slidenum">
              <a:rPr lang="en-US" smtClean="0"/>
              <a:pPr/>
              <a:t>15</a:t>
            </a:fld>
            <a:endParaRPr lang="en-US"/>
          </a:p>
        </p:txBody>
      </p:sp>
      <p:sp>
        <p:nvSpPr>
          <p:cNvPr id="19" name="masterSource">
            <a:extLst>
              <a:ext uri="{FF2B5EF4-FFF2-40B4-BE49-F238E27FC236}">
                <a16:creationId xmlns:a16="http://schemas.microsoft.com/office/drawing/2014/main" id="{9B73BA18-59D9-4740-88B2-85D465E33C93}"/>
              </a:ext>
            </a:extLst>
          </p:cNvPr>
          <p:cNvSpPr txBox="1"/>
          <p:nvPr>
            <p:custDataLst>
              <p:tags r:id="rId2"/>
            </p:custDataLst>
          </p:nvPr>
        </p:nvSpPr>
        <p:spPr bwMode="gray">
          <a:xfrm>
            <a:off x="539750" y="5724463"/>
            <a:ext cx="0" cy="108012"/>
          </a:xfrm>
          <a:prstGeom prst="rect">
            <a:avLst/>
          </a:prstGeom>
          <a:solidFill>
            <a:srgbClr val="FFFFFF"/>
          </a:solidFill>
        </p:spPr>
        <p:txBody>
          <a:bodyPr vert="horz" wrap="none" lIns="0" tIns="0" rIns="0" bIns="0" rtlCol="0" anchor="b">
            <a:noAutofit/>
          </a:bodyPr>
          <a:lstStyle>
            <a:defPPr>
              <a:defRPr lang="de-DE"/>
            </a:defPPr>
            <a:lvl1pPr>
              <a:defRPr sz="700">
                <a:solidFill>
                  <a:srgbClr val="000000"/>
                </a:solidFill>
                <a:latin typeface="Arial" panose="020B0604020202020204" pitchFamily="34" charset="0"/>
                <a:cs typeface="Arial" panose="020B0604020202020204" pitchFamily="34" charset="0"/>
              </a:defRPr>
            </a:lvl1pPr>
          </a:lstStyle>
          <a:p>
            <a:endParaRPr lang="en-US" dirty="0">
              <a:solidFill>
                <a:srgbClr val="001A54"/>
              </a:solidFill>
            </a:endParaRPr>
          </a:p>
        </p:txBody>
      </p:sp>
      <p:graphicFrame>
        <p:nvGraphicFramePr>
          <p:cNvPr id="5" name="masterTableStyle1">
            <a:extLst>
              <a:ext uri="{FF2B5EF4-FFF2-40B4-BE49-F238E27FC236}">
                <a16:creationId xmlns:a16="http://schemas.microsoft.com/office/drawing/2014/main" id="{8B15B404-76CF-9E7C-0C11-3497CAE4A9B1}"/>
              </a:ext>
            </a:extLst>
          </p:cNvPr>
          <p:cNvGraphicFramePr>
            <a:graphicFrameLocks noGrp="1"/>
          </p:cNvGraphicFramePr>
          <p:nvPr>
            <p:custDataLst>
              <p:tags r:id="rId3"/>
            </p:custDataLst>
            <p:extLst>
              <p:ext uri="{D42A27DB-BD31-4B8C-83A1-F6EECF244321}">
                <p14:modId xmlns:p14="http://schemas.microsoft.com/office/powerpoint/2010/main" val="1582449047"/>
              </p:ext>
            </p:extLst>
          </p:nvPr>
        </p:nvGraphicFramePr>
        <p:xfrm>
          <a:off x="539750" y="935831"/>
          <a:ext cx="10437406" cy="4535760"/>
        </p:xfrm>
        <a:graphic>
          <a:graphicData uri="http://schemas.openxmlformats.org/drawingml/2006/table">
            <a:tbl>
              <a:tblPr firstRow="1" bandRow="1">
                <a:tableStyleId>{5C22544A-7EE6-4342-B048-85BDC9FD1C3A}</a:tableStyleId>
              </a:tblPr>
              <a:tblGrid>
                <a:gridCol w="1827040">
                  <a:extLst>
                    <a:ext uri="{9D8B030D-6E8A-4147-A177-3AD203B41FA5}">
                      <a16:colId xmlns:a16="http://schemas.microsoft.com/office/drawing/2014/main" val="20002"/>
                    </a:ext>
                  </a:extLst>
                </a:gridCol>
                <a:gridCol w="2637370">
                  <a:extLst>
                    <a:ext uri="{9D8B030D-6E8A-4147-A177-3AD203B41FA5}">
                      <a16:colId xmlns:a16="http://schemas.microsoft.com/office/drawing/2014/main" val="1903911206"/>
                    </a:ext>
                  </a:extLst>
                </a:gridCol>
                <a:gridCol w="2844316">
                  <a:extLst>
                    <a:ext uri="{9D8B030D-6E8A-4147-A177-3AD203B41FA5}">
                      <a16:colId xmlns:a16="http://schemas.microsoft.com/office/drawing/2014/main" val="1726794915"/>
                    </a:ext>
                  </a:extLst>
                </a:gridCol>
                <a:gridCol w="3128680">
                  <a:extLst>
                    <a:ext uri="{9D8B030D-6E8A-4147-A177-3AD203B41FA5}">
                      <a16:colId xmlns:a16="http://schemas.microsoft.com/office/drawing/2014/main" val="501773105"/>
                    </a:ext>
                  </a:extLst>
                </a:gridCol>
              </a:tblGrid>
              <a:tr h="360000">
                <a:tc>
                  <a:txBody>
                    <a:bodyPr/>
                    <a:lstStyle/>
                    <a:p>
                      <a:r>
                        <a:rPr lang="en" sz="1600">
                          <a:solidFill>
                            <a:srgbClr val="001A54"/>
                          </a:solidFill>
                        </a:rPr>
                        <a:t>Topic</a:t>
                      </a:r>
                    </a:p>
                  </a:txBody>
                  <a:tcPr>
                    <a:lnL w="57150" cap="flat" cmpd="sng" algn="ctr">
                      <a:noFill/>
                      <a:prstDash val="solid"/>
                      <a:round/>
                      <a:headEnd type="none" w="med" len="med"/>
                      <a:tailEnd type="none" w="med" len="med"/>
                    </a:lnL>
                    <a:lnR w="12700" cmpd="sng">
                      <a:noFill/>
                    </a:lnR>
                    <a:lnT w="12700" cmpd="sng">
                      <a:noFill/>
                    </a:lnT>
                    <a:lnB w="6350" cap="flat" cmpd="sng" algn="ctr">
                      <a:solidFill>
                        <a:srgbClr val="001A54"/>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 sz="1600" dirty="0">
                          <a:solidFill>
                            <a:srgbClr val="001A54"/>
                          </a:solidFill>
                        </a:rPr>
                        <a:t>UN R155</a:t>
                      </a:r>
                    </a:p>
                  </a:txBody>
                  <a:tcPr>
                    <a:lnL w="57150" cap="flat" cmpd="sng" algn="ctr">
                      <a:noFill/>
                      <a:prstDash val="solid"/>
                      <a:round/>
                      <a:headEnd type="none" w="med" len="med"/>
                      <a:tailEnd type="none" w="med" len="med"/>
                    </a:lnL>
                    <a:lnR w="12700" cmpd="sng">
                      <a:noFill/>
                    </a:lnR>
                    <a:lnT w="12700" cmpd="sng">
                      <a:noFill/>
                    </a:lnT>
                    <a:lnB w="6350" cap="flat" cmpd="sng" algn="ctr">
                      <a:solidFill>
                        <a:srgbClr val="001A54"/>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 sz="1600" dirty="0">
                          <a:solidFill>
                            <a:srgbClr val="001A54"/>
                          </a:solidFill>
                        </a:rPr>
                        <a:t>CRA</a:t>
                      </a:r>
                    </a:p>
                  </a:txBody>
                  <a:tcPr>
                    <a:lnL w="57150" cap="flat" cmpd="sng" algn="ctr">
                      <a:noFill/>
                      <a:prstDash val="solid"/>
                      <a:round/>
                      <a:headEnd type="none" w="med" len="med"/>
                      <a:tailEnd type="none" w="med" len="med"/>
                    </a:lnL>
                    <a:lnR w="12700" cmpd="sng">
                      <a:noFill/>
                    </a:lnR>
                    <a:lnT w="12700" cmpd="sng">
                      <a:noFill/>
                    </a:lnT>
                    <a:lnB w="6350" cap="flat" cmpd="sng" algn="ctr">
                      <a:solidFill>
                        <a:srgbClr val="001A54"/>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 sz="1600" dirty="0">
                          <a:solidFill>
                            <a:srgbClr val="001A54"/>
                          </a:solidFill>
                        </a:rPr>
                        <a:t>GB-44495</a:t>
                      </a:r>
                    </a:p>
                  </a:txBody>
                  <a:tcPr>
                    <a:lnL w="57150" cap="flat" cmpd="sng" algn="ctr">
                      <a:noFill/>
                      <a:prstDash val="solid"/>
                      <a:round/>
                      <a:headEnd type="none" w="med" len="med"/>
                      <a:tailEnd type="none" w="med" len="med"/>
                    </a:lnL>
                    <a:lnR w="12700" cmpd="sng">
                      <a:noFill/>
                    </a:lnR>
                    <a:lnT w="12700" cmpd="sng">
                      <a:noFill/>
                    </a:lnT>
                    <a:lnB w="6350" cap="flat" cmpd="sng" algn="ctr">
                      <a:solidFill>
                        <a:srgbClr val="001A54"/>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0"/>
                  </a:ext>
                </a:extLst>
              </a:tr>
              <a:tr h="360000">
                <a:tc>
                  <a:txBody>
                    <a:bodyPr/>
                    <a:lstStyle/>
                    <a:p>
                      <a:r>
                        <a:rPr lang="en" sz="1600" b="1" dirty="0"/>
                        <a:t>Technical requirements</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001A54"/>
                      </a:solidFill>
                      <a:prstDash val="solid"/>
                      <a:round/>
                      <a:headEnd type="none" w="med" len="med"/>
                      <a:tailEnd type="none" w="med" len="med"/>
                    </a:lnT>
                    <a:lnB w="6350" cap="flat" cmpd="sng" algn="ctr">
                      <a:solidFill>
                        <a:srgbClr val="001A54"/>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 sz="1600" dirty="0"/>
                        <a:t>Threats and abstract countermeasures specified in Annex 5</a:t>
                      </a:r>
                      <a:endParaRPr lang="en-US" sz="1600" dirty="0">
                        <a:solidFill>
                          <a:srgbClr val="001A54"/>
                        </a:solidFill>
                      </a:endParaRP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001A54"/>
                      </a:solidFill>
                      <a:prstDash val="solid"/>
                      <a:round/>
                      <a:headEnd type="none" w="med" len="med"/>
                      <a:tailEnd type="none" w="med" len="med"/>
                    </a:lnT>
                    <a:lnB w="6350" cap="flat" cmpd="sng" algn="ctr">
                      <a:solidFill>
                        <a:srgbClr val="001A54"/>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 sz="1600" dirty="0"/>
                        <a:t>Essential abstract requirements are defined in </a:t>
                      </a:r>
                      <a:r>
                        <a:rPr lang="en" sz="1600" kern="1200" dirty="0">
                          <a:solidFill>
                            <a:srgbClr val="001A54"/>
                          </a:solidFill>
                          <a:latin typeface="+mn-lt"/>
                          <a:ea typeface="+mn-ea"/>
                          <a:cs typeface="+mn-cs"/>
                        </a:rPr>
                        <a:t>Annex I</a:t>
                      </a:r>
                      <a:endParaRPr lang="en-US" sz="1600" kern="1200" dirty="0">
                        <a:solidFill>
                          <a:srgbClr val="001A54"/>
                        </a:solidFill>
                        <a:latin typeface="+mn-lt"/>
                        <a:ea typeface="+mn-ea"/>
                        <a:cs typeface="+mn-cs"/>
                      </a:endParaRP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001A54"/>
                      </a:solidFill>
                      <a:prstDash val="solid"/>
                      <a:round/>
                      <a:headEnd type="none" w="med" len="med"/>
                      <a:tailEnd type="none" w="med" len="med"/>
                    </a:lnT>
                    <a:lnB w="6350" cap="flat" cmpd="sng" algn="ctr">
                      <a:solidFill>
                        <a:srgbClr val="001A54"/>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US" sz="1600" kern="1200" dirty="0">
                          <a:solidFill>
                            <a:srgbClr val="001A54"/>
                          </a:solidFill>
                          <a:latin typeface="+mn-lt"/>
                          <a:ea typeface="+mn-ea"/>
                          <a:cs typeface="+mn-cs"/>
                        </a:rPr>
                        <a:t>Includes </a:t>
                      </a:r>
                      <a:r>
                        <a:rPr lang="en-US" sz="1600" kern="1200" dirty="0">
                          <a:solidFill>
                            <a:schemeClr val="accent5"/>
                          </a:solidFill>
                          <a:latin typeface="+mn-lt"/>
                          <a:ea typeface="+mn-ea"/>
                          <a:cs typeface="+mn-cs"/>
                        </a:rPr>
                        <a:t>specific technical controls</a:t>
                      </a:r>
                      <a:r>
                        <a:rPr lang="en-US" sz="1600" kern="1200" dirty="0">
                          <a:solidFill>
                            <a:srgbClr val="001A54"/>
                          </a:solidFill>
                          <a:latin typeface="+mn-lt"/>
                          <a:ea typeface="+mn-ea"/>
                          <a:cs typeface="+mn-cs"/>
                        </a:rPr>
                        <a:t>, such as authentication protocols, intrusion detection, and data security measures</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001A54"/>
                      </a:solidFill>
                      <a:prstDash val="solid"/>
                      <a:round/>
                      <a:headEnd type="none" w="med" len="med"/>
                      <a:tailEnd type="none" w="med" len="med"/>
                    </a:lnT>
                    <a:lnB w="6350" cap="flat" cmpd="sng" algn="ctr">
                      <a:solidFill>
                        <a:srgbClr val="001A54"/>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509388057"/>
                  </a:ext>
                </a:extLst>
              </a:tr>
              <a:tr h="360000">
                <a:tc>
                  <a:txBody>
                    <a:bodyPr/>
                    <a:lstStyle/>
                    <a:p>
                      <a:r>
                        <a:rPr lang="en" sz="1600" b="1" dirty="0"/>
                        <a:t>Testing and certification</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001A54"/>
                      </a:solidFill>
                      <a:prstDash val="solid"/>
                      <a:round/>
                      <a:headEnd type="none" w="med" len="med"/>
                      <a:tailEnd type="none" w="med" len="med"/>
                    </a:lnT>
                    <a:lnB w="6350" cap="flat" cmpd="sng" algn="ctr">
                      <a:solidFill>
                        <a:srgbClr val="001A54"/>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 sz="1600" dirty="0">
                          <a:solidFill>
                            <a:srgbClr val="001A54"/>
                          </a:solidFill>
                        </a:rPr>
                        <a:t>CSMS</a:t>
                      </a:r>
                      <a:r>
                        <a:rPr lang="en" sz="1600" dirty="0"/>
                        <a:t> &amp; Vehicle Types needs to be </a:t>
                      </a:r>
                      <a:r>
                        <a:rPr lang="en" sz="1600" kern="1200" dirty="0">
                          <a:solidFill>
                            <a:schemeClr val="accent5"/>
                          </a:solidFill>
                          <a:latin typeface="+mn-lt"/>
                          <a:ea typeface="+mn-ea"/>
                          <a:cs typeface="+mn-cs"/>
                        </a:rPr>
                        <a:t>tested by technical service and certified by approval authority</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001A54"/>
                      </a:solidFill>
                      <a:prstDash val="solid"/>
                      <a:round/>
                      <a:headEnd type="none" w="med" len="med"/>
                      <a:tailEnd type="none" w="med" len="med"/>
                    </a:lnT>
                    <a:lnB w="6350" cap="flat" cmpd="sng" algn="ctr">
                      <a:solidFill>
                        <a:srgbClr val="001A54"/>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 sz="1600" dirty="0"/>
                        <a:t>Depending on type of product: </a:t>
                      </a:r>
                      <a:r>
                        <a:rPr lang="en" sz="1600" kern="1200" dirty="0">
                          <a:solidFill>
                            <a:schemeClr val="accent2"/>
                          </a:solidFill>
                          <a:latin typeface="+mn-lt"/>
                          <a:ea typeface="+mn-ea"/>
                          <a:cs typeface="+mn-cs"/>
                        </a:rPr>
                        <a:t>self-declaration</a:t>
                      </a:r>
                      <a:r>
                        <a:rPr lang="en" sz="1600" dirty="0"/>
                        <a:t>, third-party conformity assessment, or European cybersecurity certification</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001A54"/>
                      </a:solidFill>
                      <a:prstDash val="solid"/>
                      <a:round/>
                      <a:headEnd type="none" w="med" len="med"/>
                      <a:tailEnd type="none" w="med" len="med"/>
                    </a:lnT>
                    <a:lnB w="6350" cap="flat" cmpd="sng" algn="ctr">
                      <a:solidFill>
                        <a:srgbClr val="001A54"/>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US" sz="1600" dirty="0"/>
                        <a:t>Testing of cybersecurity functions is required based on </a:t>
                      </a:r>
                      <a:r>
                        <a:rPr lang="en-US" sz="1600" dirty="0">
                          <a:solidFill>
                            <a:schemeClr val="accent5"/>
                          </a:solidFill>
                        </a:rPr>
                        <a:t>27 defined security tests</a:t>
                      </a:r>
                      <a:r>
                        <a:rPr lang="en-US" sz="1600" dirty="0">
                          <a:solidFill>
                            <a:srgbClr val="DC46F3"/>
                          </a:solidFill>
                        </a:rPr>
                        <a:t> </a:t>
                      </a:r>
                      <a:r>
                        <a:rPr lang="en-US" sz="1600" dirty="0">
                          <a:solidFill>
                            <a:schemeClr val="tx1"/>
                          </a:solidFill>
                        </a:rPr>
                        <a:t>(e.g., external interfaces, access control, communications security)</a:t>
                      </a:r>
                      <a:r>
                        <a:rPr lang="en-US" sz="1600" dirty="0"/>
                        <a:t>; </a:t>
                      </a:r>
                      <a:r>
                        <a:rPr lang="en-US" sz="1600" dirty="0">
                          <a:solidFill>
                            <a:schemeClr val="accent2"/>
                          </a:solidFill>
                        </a:rPr>
                        <a:t>third-party labs may conduct evaluations</a:t>
                      </a:r>
                      <a:endParaRPr lang="en" sz="1600" dirty="0">
                        <a:solidFill>
                          <a:schemeClr val="accent2"/>
                        </a:solidFill>
                      </a:endParaRP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001A54"/>
                      </a:solidFill>
                      <a:prstDash val="solid"/>
                      <a:round/>
                      <a:headEnd type="none" w="med" len="med"/>
                      <a:tailEnd type="none" w="med" len="med"/>
                    </a:lnT>
                    <a:lnB w="6350" cap="flat" cmpd="sng" algn="ctr">
                      <a:solidFill>
                        <a:srgbClr val="001A54"/>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367849700"/>
                  </a:ext>
                </a:extLst>
              </a:tr>
              <a:tr h="360000">
                <a:tc>
                  <a:txBody>
                    <a:bodyPr/>
                    <a:lstStyle/>
                    <a:p>
                      <a:r>
                        <a:rPr lang="en-US" sz="1600" b="1" dirty="0"/>
                        <a:t>Cryptography requirements</a:t>
                      </a:r>
                      <a:endParaRPr lang="en" sz="1600" b="1" dirty="0"/>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001A54"/>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US" sz="1600" kern="1200" dirty="0">
                          <a:solidFill>
                            <a:schemeClr val="tx1"/>
                          </a:solidFill>
                          <a:latin typeface="+mn-lt"/>
                          <a:ea typeface="+mn-ea"/>
                          <a:cs typeface="+mn-cs"/>
                        </a:rPr>
                        <a:t>Does not mandate specific algorithms but expects appropriate cryptographic measures aligned with best practices</a:t>
                      </a:r>
                      <a:endParaRPr lang="en" sz="1600" kern="1200" dirty="0">
                        <a:solidFill>
                          <a:schemeClr val="tx1"/>
                        </a:solidFill>
                        <a:latin typeface="+mn-lt"/>
                        <a:ea typeface="+mn-ea"/>
                        <a:cs typeface="+mn-cs"/>
                      </a:endParaRP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001A54"/>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US" sz="1600" dirty="0"/>
                        <a:t>No fixed algorithms, but secure, up-to-date cryptographic standards must be used</a:t>
                      </a:r>
                      <a:endParaRPr lang="en" sz="1600" dirty="0"/>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001A54"/>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US" sz="1600" dirty="0"/>
                        <a:t>Specifies international, national or industry standard crypto modules (e.g., </a:t>
                      </a:r>
                      <a:r>
                        <a:rPr lang="en-US" sz="1600" dirty="0">
                          <a:solidFill>
                            <a:schemeClr val="accent5"/>
                          </a:solidFill>
                        </a:rPr>
                        <a:t>Chinese cryptographic algorithms</a:t>
                      </a:r>
                      <a:r>
                        <a:rPr lang="en-US" sz="1600" dirty="0">
                          <a:solidFill>
                            <a:schemeClr val="tx1"/>
                          </a:solidFill>
                        </a:rPr>
                        <a:t>)</a:t>
                      </a:r>
                      <a:endParaRPr lang="en" sz="1600" dirty="0">
                        <a:solidFill>
                          <a:schemeClr val="tx1"/>
                        </a:solidFill>
                      </a:endParaRP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001A54"/>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916601510"/>
                  </a:ext>
                </a:extLst>
              </a:tr>
            </a:tbl>
          </a:graphicData>
        </a:graphic>
      </p:graphicFrame>
      <p:sp>
        <p:nvSpPr>
          <p:cNvPr id="3" name="TextBox 2">
            <a:extLst>
              <a:ext uri="{FF2B5EF4-FFF2-40B4-BE49-F238E27FC236}">
                <a16:creationId xmlns:a16="http://schemas.microsoft.com/office/drawing/2014/main" id="{8F00F849-8DB8-8B3A-AE7C-3F57899764C2}"/>
              </a:ext>
            </a:extLst>
          </p:cNvPr>
          <p:cNvSpPr txBox="1"/>
          <p:nvPr/>
        </p:nvSpPr>
        <p:spPr>
          <a:xfrm>
            <a:off x="9973039" y="76927"/>
            <a:ext cx="1007699" cy="751809"/>
          </a:xfrm>
          <a:prstGeom prst="rect">
            <a:avLst/>
          </a:prstGeom>
          <a:noFill/>
          <a:ln>
            <a:solidFill>
              <a:srgbClr val="001A54"/>
            </a:solidFill>
          </a:ln>
        </p:spPr>
        <p:txBody>
          <a:bodyPr wrap="square" lIns="91440" tIns="0" rIns="0" bIns="0" rtlCol="0">
            <a:spAutoFit/>
          </a:bodyPr>
          <a:lstStyle/>
          <a:p>
            <a:pPr algn="l">
              <a:lnSpc>
                <a:spcPct val="120000"/>
              </a:lnSpc>
            </a:pPr>
            <a:r>
              <a:rPr lang="en-US" sz="1400" b="1" dirty="0"/>
              <a:t>Legend:</a:t>
            </a:r>
          </a:p>
          <a:p>
            <a:pPr algn="l">
              <a:lnSpc>
                <a:spcPct val="120000"/>
              </a:lnSpc>
            </a:pPr>
            <a:r>
              <a:rPr lang="en-US" sz="1400" dirty="0">
                <a:solidFill>
                  <a:schemeClr val="accent2"/>
                </a:solidFill>
              </a:rPr>
              <a:t>Less strict</a:t>
            </a:r>
          </a:p>
          <a:p>
            <a:pPr algn="l">
              <a:lnSpc>
                <a:spcPct val="120000"/>
              </a:lnSpc>
            </a:pPr>
            <a:r>
              <a:rPr lang="en-US" sz="1400" dirty="0">
                <a:solidFill>
                  <a:schemeClr val="accent5"/>
                </a:solidFill>
              </a:rPr>
              <a:t>More strict</a:t>
            </a:r>
          </a:p>
        </p:txBody>
      </p:sp>
      <p:sp>
        <p:nvSpPr>
          <p:cNvPr id="6" name="Footer Placeholder 2">
            <a:extLst>
              <a:ext uri="{FF2B5EF4-FFF2-40B4-BE49-F238E27FC236}">
                <a16:creationId xmlns:a16="http://schemas.microsoft.com/office/drawing/2014/main" id="{ADFC6E4E-2192-DD79-6F15-F9955098A95C}"/>
              </a:ext>
            </a:extLst>
          </p:cNvPr>
          <p:cNvSpPr>
            <a:spLocks noGrp="1"/>
          </p:cNvSpPr>
          <p:nvPr>
            <p:ph type="ftr" sz="quarter" idx="10"/>
          </p:nvPr>
        </p:nvSpPr>
        <p:spPr>
          <a:xfrm>
            <a:off x="972123" y="6048375"/>
            <a:ext cx="4608513" cy="179364"/>
          </a:xfrm>
        </p:spPr>
        <p:txBody>
          <a:bodyPr/>
          <a:lstStyle/>
          <a:p>
            <a:r>
              <a:rPr lang="en-US" dirty="0"/>
              <a:t>IAV  05/2025  IAVJ  DKO  Status: draft, confidential</a:t>
            </a:r>
          </a:p>
        </p:txBody>
      </p:sp>
    </p:spTree>
    <p:custDataLst>
      <p:tags r:id="rId1"/>
    </p:custDataLst>
    <p:extLst>
      <p:ext uri="{BB962C8B-B14F-4D97-AF65-F5344CB8AC3E}">
        <p14:creationId xmlns:p14="http://schemas.microsoft.com/office/powerpoint/2010/main" val="88963276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masterTableStyle1">
            <a:extLst>
              <a:ext uri="{FF2B5EF4-FFF2-40B4-BE49-F238E27FC236}">
                <a16:creationId xmlns:a16="http://schemas.microsoft.com/office/drawing/2014/main" id="{2452CBA2-4AD5-BA85-D295-6C99A5BE4393}"/>
              </a:ext>
            </a:extLst>
          </p:cNvPr>
          <p:cNvGraphicFramePr>
            <a:graphicFrameLocks noGrp="1"/>
          </p:cNvGraphicFramePr>
          <p:nvPr>
            <p:custDataLst>
              <p:tags r:id="rId2"/>
            </p:custDataLst>
            <p:extLst>
              <p:ext uri="{D42A27DB-BD31-4B8C-83A1-F6EECF244321}">
                <p14:modId xmlns:p14="http://schemas.microsoft.com/office/powerpoint/2010/main" val="444093232"/>
              </p:ext>
            </p:extLst>
          </p:nvPr>
        </p:nvGraphicFramePr>
        <p:xfrm>
          <a:off x="539750" y="935831"/>
          <a:ext cx="10440000" cy="4779600"/>
        </p:xfrm>
        <a:graphic>
          <a:graphicData uri="http://schemas.openxmlformats.org/drawingml/2006/table">
            <a:tbl>
              <a:tblPr firstRow="1" bandRow="1">
                <a:tableStyleId>{5C22544A-7EE6-4342-B048-85BDC9FD1C3A}</a:tableStyleId>
              </a:tblPr>
              <a:tblGrid>
                <a:gridCol w="1827000">
                  <a:extLst>
                    <a:ext uri="{9D8B030D-6E8A-4147-A177-3AD203B41FA5}">
                      <a16:colId xmlns:a16="http://schemas.microsoft.com/office/drawing/2014/main" val="20002"/>
                    </a:ext>
                  </a:extLst>
                </a:gridCol>
                <a:gridCol w="2529398">
                  <a:extLst>
                    <a:ext uri="{9D8B030D-6E8A-4147-A177-3AD203B41FA5}">
                      <a16:colId xmlns:a16="http://schemas.microsoft.com/office/drawing/2014/main" val="1903911206"/>
                    </a:ext>
                  </a:extLst>
                </a:gridCol>
                <a:gridCol w="3212602">
                  <a:extLst>
                    <a:ext uri="{9D8B030D-6E8A-4147-A177-3AD203B41FA5}">
                      <a16:colId xmlns:a16="http://schemas.microsoft.com/office/drawing/2014/main" val="1726794915"/>
                    </a:ext>
                  </a:extLst>
                </a:gridCol>
                <a:gridCol w="2871000">
                  <a:extLst>
                    <a:ext uri="{9D8B030D-6E8A-4147-A177-3AD203B41FA5}">
                      <a16:colId xmlns:a16="http://schemas.microsoft.com/office/drawing/2014/main" val="1646001013"/>
                    </a:ext>
                  </a:extLst>
                </a:gridCol>
              </a:tblGrid>
              <a:tr h="360000">
                <a:tc>
                  <a:txBody>
                    <a:bodyPr/>
                    <a:lstStyle/>
                    <a:p>
                      <a:r>
                        <a:rPr lang="en" sz="1600">
                          <a:solidFill>
                            <a:srgbClr val="001A54"/>
                          </a:solidFill>
                        </a:rPr>
                        <a:t>Topic</a:t>
                      </a:r>
                    </a:p>
                  </a:txBody>
                  <a:tcPr>
                    <a:lnL w="57150" cap="flat" cmpd="sng" algn="ctr">
                      <a:noFill/>
                      <a:prstDash val="solid"/>
                      <a:round/>
                      <a:headEnd type="none" w="med" len="med"/>
                      <a:tailEnd type="none" w="med" len="med"/>
                    </a:lnL>
                    <a:lnR w="12700" cmpd="sng">
                      <a:noFill/>
                    </a:lnR>
                    <a:lnT w="12700" cmpd="sng">
                      <a:noFill/>
                    </a:lnT>
                    <a:lnB w="6350" cap="flat" cmpd="sng" algn="ctr">
                      <a:solidFill>
                        <a:srgbClr val="001A54"/>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 sz="1600" dirty="0">
                          <a:solidFill>
                            <a:srgbClr val="001A54"/>
                          </a:solidFill>
                        </a:rPr>
                        <a:t>UN R155</a:t>
                      </a:r>
                    </a:p>
                  </a:txBody>
                  <a:tcPr>
                    <a:lnL w="57150" cap="flat" cmpd="sng" algn="ctr">
                      <a:noFill/>
                      <a:prstDash val="solid"/>
                      <a:round/>
                      <a:headEnd type="none" w="med" len="med"/>
                      <a:tailEnd type="none" w="med" len="med"/>
                    </a:lnL>
                    <a:lnR w="12700" cmpd="sng">
                      <a:noFill/>
                    </a:lnR>
                    <a:lnT w="12700" cmpd="sng">
                      <a:noFill/>
                    </a:lnT>
                    <a:lnB w="6350" cap="flat" cmpd="sng" algn="ctr">
                      <a:solidFill>
                        <a:srgbClr val="001A54"/>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 sz="1600">
                          <a:solidFill>
                            <a:srgbClr val="001A54"/>
                          </a:solidFill>
                        </a:rPr>
                        <a:t>CRA</a:t>
                      </a:r>
                    </a:p>
                  </a:txBody>
                  <a:tcPr>
                    <a:lnL w="57150" cap="flat" cmpd="sng" algn="ctr">
                      <a:noFill/>
                      <a:prstDash val="solid"/>
                      <a:round/>
                      <a:headEnd type="none" w="med" len="med"/>
                      <a:tailEnd type="none" w="med" len="med"/>
                    </a:lnL>
                    <a:lnR w="12700" cmpd="sng">
                      <a:noFill/>
                    </a:lnR>
                    <a:lnT w="12700" cmpd="sng">
                      <a:noFill/>
                    </a:lnT>
                    <a:lnB w="6350" cap="flat" cmpd="sng" algn="ctr">
                      <a:solidFill>
                        <a:srgbClr val="001A54"/>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 sz="1600" dirty="0">
                          <a:solidFill>
                            <a:srgbClr val="001A54"/>
                          </a:solidFill>
                        </a:rPr>
                        <a:t>GB-44495</a:t>
                      </a:r>
                    </a:p>
                  </a:txBody>
                  <a:tcPr>
                    <a:lnL w="57150" cap="flat" cmpd="sng" algn="ctr">
                      <a:noFill/>
                      <a:prstDash val="solid"/>
                      <a:round/>
                      <a:headEnd type="none" w="med" len="med"/>
                      <a:tailEnd type="none" w="med" len="med"/>
                    </a:lnL>
                    <a:lnR w="12700" cmpd="sng">
                      <a:noFill/>
                    </a:lnR>
                    <a:lnT w="12700" cmpd="sng">
                      <a:noFill/>
                    </a:lnT>
                    <a:lnB w="6350" cap="flat" cmpd="sng" algn="ctr">
                      <a:solidFill>
                        <a:srgbClr val="001A54"/>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0"/>
                  </a:ext>
                </a:extLst>
              </a:tr>
              <a:tr h="360000">
                <a:tc>
                  <a:txBody>
                    <a:bodyPr/>
                    <a:lstStyle/>
                    <a:p>
                      <a:r>
                        <a:rPr lang="en" sz="1600" b="1" dirty="0"/>
                        <a:t>Reporting obligations</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001A54"/>
                      </a:solidFill>
                      <a:prstDash val="solid"/>
                      <a:round/>
                      <a:headEnd type="none" w="med" len="med"/>
                      <a:tailEnd type="none" w="med" len="med"/>
                    </a:lnT>
                    <a:lnB w="6350" cap="flat" cmpd="sng" algn="ctr">
                      <a:solidFill>
                        <a:srgbClr val="001A54"/>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 sz="1600" dirty="0"/>
                        <a:t>OEM to report yearly new attacks and actions effectiveness of implemented mitigation / additional actions</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001A54"/>
                      </a:solidFill>
                      <a:prstDash val="solid"/>
                      <a:round/>
                      <a:headEnd type="none" w="med" len="med"/>
                      <a:tailEnd type="none" w="med" len="med"/>
                    </a:lnT>
                    <a:lnB w="6350" cap="flat" cmpd="sng" algn="ctr">
                      <a:solidFill>
                        <a:srgbClr val="001A54"/>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 sz="1600" dirty="0"/>
                        <a:t>Manufacturer to </a:t>
                      </a:r>
                      <a:r>
                        <a:rPr lang="en" sz="1600" dirty="0">
                          <a:solidFill>
                            <a:schemeClr val="accent5"/>
                          </a:solidFill>
                        </a:rPr>
                        <a:t>report actively exploited vulnerabilities</a:t>
                      </a:r>
                      <a:r>
                        <a:rPr lang="en" sz="1600" dirty="0"/>
                        <a:t> or severe incidents to ENISA </a:t>
                      </a:r>
                      <a:r>
                        <a:rPr lang="en" sz="1600" dirty="0">
                          <a:solidFill>
                            <a:schemeClr val="accent5"/>
                          </a:solidFill>
                        </a:rPr>
                        <a:t>within 24 hours</a:t>
                      </a:r>
                      <a:r>
                        <a:rPr lang="en" sz="1600" dirty="0"/>
                        <a:t>, and more </a:t>
                      </a:r>
                      <a:r>
                        <a:rPr lang="en" sz="1600" dirty="0">
                          <a:solidFill>
                            <a:schemeClr val="accent5"/>
                          </a:solidFill>
                        </a:rPr>
                        <a:t>detailed incident notification within 72 hours</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001A54"/>
                      </a:solidFill>
                      <a:prstDash val="solid"/>
                      <a:round/>
                      <a:headEnd type="none" w="med" len="med"/>
                      <a:tailEnd type="none" w="med" len="med"/>
                    </a:lnT>
                    <a:lnB w="6350" cap="flat" cmpd="sng" algn="ctr">
                      <a:solidFill>
                        <a:srgbClr val="001A54"/>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US" sz="1600" dirty="0"/>
                        <a:t>Processes in place for vulnerability management but </a:t>
                      </a:r>
                      <a:r>
                        <a:rPr lang="en-US" sz="1600" dirty="0">
                          <a:solidFill>
                            <a:schemeClr val="accent2"/>
                          </a:solidFill>
                        </a:rPr>
                        <a:t>no specific reporting timelines or authorities to report to</a:t>
                      </a:r>
                      <a:endParaRPr lang="en" sz="1600" dirty="0">
                        <a:solidFill>
                          <a:schemeClr val="accent2"/>
                        </a:solidFill>
                      </a:endParaRP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001A54"/>
                      </a:solidFill>
                      <a:prstDash val="solid"/>
                      <a:round/>
                      <a:headEnd type="none" w="med" len="med"/>
                      <a:tailEnd type="none" w="med" len="med"/>
                    </a:lnT>
                    <a:lnB w="6350" cap="flat" cmpd="sng" algn="ctr">
                      <a:solidFill>
                        <a:srgbClr val="001A54"/>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60000">
                <a:tc>
                  <a:txBody>
                    <a:bodyPr/>
                    <a:lstStyle/>
                    <a:p>
                      <a:r>
                        <a:rPr lang="en" sz="1600" b="1" dirty="0"/>
                        <a:t>Fixing vulnerabilities</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001A54"/>
                      </a:solidFill>
                      <a:prstDash val="solid"/>
                      <a:round/>
                      <a:headEnd type="none" w="med" len="med"/>
                      <a:tailEnd type="none" w="med" len="med"/>
                    </a:lnT>
                    <a:lnB w="6350" cap="flat" cmpd="sng" algn="ctr">
                      <a:solidFill>
                        <a:srgbClr val="001A54"/>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 sz="1600" dirty="0"/>
                        <a:t>Remediation of threats and vulnerabilities in the product within a </a:t>
                      </a:r>
                      <a:r>
                        <a:rPr lang="en" sz="1600" dirty="0">
                          <a:solidFill>
                            <a:schemeClr val="accent2"/>
                          </a:solidFill>
                        </a:rPr>
                        <a:t>reasonable timeframe</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001A54"/>
                      </a:solidFill>
                      <a:prstDash val="solid"/>
                      <a:round/>
                      <a:headEnd type="none" w="med" len="med"/>
                      <a:tailEnd type="none" w="med" len="med"/>
                    </a:lnT>
                    <a:lnB w="6350" cap="flat" cmpd="sng" algn="ctr">
                      <a:solidFill>
                        <a:srgbClr val="001A54"/>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 sz="1600" b="0" i="0" kern="1200" dirty="0">
                          <a:solidFill>
                            <a:schemeClr val="dk1"/>
                          </a:solidFill>
                          <a:effectLst/>
                          <a:latin typeface="+mn-lt"/>
                          <a:ea typeface="+mn-ea"/>
                          <a:cs typeface="+mn-cs"/>
                        </a:rPr>
                        <a:t>Manufacturers shall ensure that vulnerabilities of that product, including its components, are </a:t>
                      </a:r>
                      <a:r>
                        <a:rPr lang="en" sz="1600" b="0" i="0" kern="1200" dirty="0">
                          <a:solidFill>
                            <a:schemeClr val="accent2"/>
                          </a:solidFill>
                          <a:effectLst/>
                          <a:latin typeface="+mn-lt"/>
                          <a:ea typeface="+mn-ea"/>
                          <a:cs typeface="+mn-cs"/>
                        </a:rPr>
                        <a:t>handled effectively</a:t>
                      </a:r>
                      <a:endParaRPr lang="en-US" sz="1600" dirty="0">
                        <a:solidFill>
                          <a:schemeClr val="accent2"/>
                        </a:solidFill>
                      </a:endParaRP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001A54"/>
                      </a:solidFill>
                      <a:prstDash val="solid"/>
                      <a:round/>
                      <a:headEnd type="none" w="med" len="med"/>
                      <a:tailEnd type="none" w="med" len="med"/>
                    </a:lnT>
                    <a:lnB w="6350" cap="flat" cmpd="sng" algn="ctr">
                      <a:solidFill>
                        <a:srgbClr val="001A54"/>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US" sz="1600" dirty="0"/>
                        <a:t>Must implement vulnerability handling processes (e.g., NVDB-CAVD); known high-risk vulnerabilities must be </a:t>
                      </a:r>
                      <a:r>
                        <a:rPr lang="en-US" sz="1600" dirty="0">
                          <a:solidFill>
                            <a:schemeClr val="accent5"/>
                          </a:solidFill>
                        </a:rPr>
                        <a:t>fixed within 6 months</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001A54"/>
                      </a:solidFill>
                      <a:prstDash val="solid"/>
                      <a:round/>
                      <a:headEnd type="none" w="med" len="med"/>
                      <a:tailEnd type="none" w="med" len="med"/>
                    </a:lnT>
                    <a:lnB w="6350" cap="flat" cmpd="sng" algn="ctr">
                      <a:solidFill>
                        <a:srgbClr val="001A54"/>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423308089"/>
                  </a:ext>
                </a:extLst>
              </a:tr>
              <a:tr h="360000">
                <a:tc>
                  <a:txBody>
                    <a:bodyPr/>
                    <a:lstStyle/>
                    <a:p>
                      <a:r>
                        <a:rPr lang="en" sz="1600" b="1" dirty="0"/>
                        <a:t>Service duration</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001A54"/>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 sz="1600" dirty="0">
                          <a:solidFill>
                            <a:schemeClr val="tx1"/>
                          </a:solidFill>
                        </a:rPr>
                        <a:t>… until </a:t>
                      </a:r>
                      <a:r>
                        <a:rPr lang="en" sz="1600" dirty="0">
                          <a:solidFill>
                            <a:schemeClr val="accent5"/>
                          </a:solidFill>
                        </a:rPr>
                        <a:t>end-of-life </a:t>
                      </a:r>
                      <a:r>
                        <a:rPr lang="en" sz="1600" dirty="0">
                          <a:solidFill>
                            <a:schemeClr val="tx1"/>
                          </a:solidFill>
                        </a:rPr>
                        <a:t>of all vehicles</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001A54"/>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defTabSz="863995" rtl="0" eaLnBrk="1" fontAlgn="auto" latinLnBrk="0" hangingPunct="1">
                        <a:lnSpc>
                          <a:spcPct val="100000"/>
                        </a:lnSpc>
                        <a:spcBef>
                          <a:spcPts val="0"/>
                        </a:spcBef>
                        <a:spcAft>
                          <a:spcPts val="0"/>
                        </a:spcAft>
                        <a:buClrTx/>
                        <a:buSzTx/>
                        <a:buFontTx/>
                        <a:buNone/>
                        <a:tabLst/>
                        <a:defRPr/>
                      </a:pPr>
                      <a:r>
                        <a:rPr lang="en" sz="1600" b="0" i="0" kern="1200" dirty="0">
                          <a:solidFill>
                            <a:schemeClr val="dk1"/>
                          </a:solidFill>
                          <a:effectLst/>
                          <a:latin typeface="+mn-lt"/>
                          <a:ea typeface="+mn-ea"/>
                          <a:cs typeface="+mn-cs"/>
                        </a:rPr>
                        <a:t>Support period shall be at </a:t>
                      </a:r>
                      <a:r>
                        <a:rPr lang="en" sz="1600" kern="1200" dirty="0">
                          <a:solidFill>
                            <a:schemeClr val="tx1"/>
                          </a:solidFill>
                          <a:latin typeface="+mn-lt"/>
                          <a:ea typeface="+mn-ea"/>
                          <a:cs typeface="+mn-cs"/>
                        </a:rPr>
                        <a:t>least 5 years</a:t>
                      </a:r>
                      <a:r>
                        <a:rPr lang="en" sz="1600" b="0" i="0" kern="1200" dirty="0">
                          <a:solidFill>
                            <a:schemeClr val="dk1"/>
                          </a:solidFill>
                          <a:effectLst/>
                          <a:latin typeface="+mn-lt"/>
                          <a:ea typeface="+mn-ea"/>
                          <a:cs typeface="+mn-cs"/>
                        </a:rPr>
                        <a:t>...</a:t>
                      </a:r>
                    </a:p>
                    <a:p>
                      <a:pPr marL="0" marR="0" lvl="0" indent="0" algn="l" defTabSz="863995" rtl="0" eaLnBrk="1" fontAlgn="auto" latinLnBrk="0" hangingPunct="1">
                        <a:lnSpc>
                          <a:spcPct val="100000"/>
                        </a:lnSpc>
                        <a:spcBef>
                          <a:spcPts val="0"/>
                        </a:spcBef>
                        <a:spcAft>
                          <a:spcPts val="0"/>
                        </a:spcAft>
                        <a:buClrTx/>
                        <a:buSzTx/>
                        <a:buFontTx/>
                        <a:buNone/>
                        <a:tabLst/>
                        <a:defRPr/>
                      </a:pPr>
                      <a:r>
                        <a:rPr lang="en" sz="1600" b="0" i="0" kern="1200" dirty="0">
                          <a:solidFill>
                            <a:schemeClr val="dk1"/>
                          </a:solidFill>
                          <a:effectLst/>
                          <a:latin typeface="+mn-lt"/>
                          <a:ea typeface="+mn-ea"/>
                          <a:cs typeface="+mn-cs"/>
                        </a:rPr>
                        <a:t>If expected to be in use for longer, </a:t>
                      </a:r>
                      <a:r>
                        <a:rPr lang="en" sz="1600" b="0" i="0" kern="1200" dirty="0">
                          <a:solidFill>
                            <a:schemeClr val="accent5"/>
                          </a:solidFill>
                          <a:effectLst/>
                          <a:latin typeface="+mn-lt"/>
                          <a:ea typeface="+mn-ea"/>
                          <a:cs typeface="+mn-cs"/>
                        </a:rPr>
                        <a:t>support period shall correspond to the expected usage time</a:t>
                      </a:r>
                      <a:endParaRPr lang="en-US" sz="1600" dirty="0">
                        <a:solidFill>
                          <a:schemeClr val="accent5"/>
                        </a:solidFill>
                      </a:endParaRP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001A54"/>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defTabSz="863995" rtl="0" eaLnBrk="1" fontAlgn="auto" latinLnBrk="0" hangingPunct="1">
                        <a:lnSpc>
                          <a:spcPct val="100000"/>
                        </a:lnSpc>
                        <a:spcBef>
                          <a:spcPts val="0"/>
                        </a:spcBef>
                        <a:spcAft>
                          <a:spcPts val="0"/>
                        </a:spcAft>
                        <a:buClrTx/>
                        <a:buSzTx/>
                        <a:buFontTx/>
                        <a:buNone/>
                        <a:tabLst/>
                        <a:defRPr/>
                      </a:pPr>
                      <a:r>
                        <a:rPr lang="en-US" sz="1600" dirty="0">
                          <a:solidFill>
                            <a:schemeClr val="accent2"/>
                          </a:solidFill>
                        </a:rPr>
                        <a:t>No specific minimum update period</a:t>
                      </a:r>
                      <a:r>
                        <a:rPr lang="en-US" sz="1600" dirty="0">
                          <a:solidFill>
                            <a:srgbClr val="52C9FF"/>
                          </a:solidFill>
                        </a:rPr>
                        <a:t> </a:t>
                      </a:r>
                      <a:r>
                        <a:rPr lang="en-US" sz="1600" dirty="0"/>
                        <a:t>but manufacturers are expected to maintain processes that ensure continued cybersecurity of vehicles throughout their operational life</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001A54"/>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927246660"/>
                  </a:ext>
                </a:extLst>
              </a:tr>
            </a:tbl>
          </a:graphicData>
        </a:graphic>
      </p:graphicFrame>
      <p:sp>
        <p:nvSpPr>
          <p:cNvPr id="4" name="Titel 3">
            <a:extLst>
              <a:ext uri="{FF2B5EF4-FFF2-40B4-BE49-F238E27FC236}">
                <a16:creationId xmlns:a16="http://schemas.microsoft.com/office/drawing/2014/main" id="{80750A73-FDEC-4A78-A501-53D5BE0CA08C}"/>
              </a:ext>
            </a:extLst>
          </p:cNvPr>
          <p:cNvSpPr>
            <a:spLocks noGrp="1"/>
          </p:cNvSpPr>
          <p:nvPr>
            <p:ph type="title"/>
          </p:nvPr>
        </p:nvSpPr>
        <p:spPr>
          <a:xfrm>
            <a:off x="539750" y="359767"/>
            <a:ext cx="10440988" cy="361875"/>
          </a:xfrm>
        </p:spPr>
        <p:txBody>
          <a:bodyPr/>
          <a:lstStyle/>
          <a:p>
            <a:r>
              <a:rPr lang="en" dirty="0"/>
              <a:t>Cybersecurity – R155 vs. CRA vs. GB-44495 (3)</a:t>
            </a:r>
          </a:p>
        </p:txBody>
      </p:sp>
      <p:sp>
        <p:nvSpPr>
          <p:cNvPr id="2" name="Foliennummernplatzhalter 1">
            <a:extLst>
              <a:ext uri="{FF2B5EF4-FFF2-40B4-BE49-F238E27FC236}">
                <a16:creationId xmlns:a16="http://schemas.microsoft.com/office/drawing/2014/main" id="{F260C8F5-A3B9-9505-06F3-6299EB489008}"/>
              </a:ext>
            </a:extLst>
          </p:cNvPr>
          <p:cNvSpPr>
            <a:spLocks noGrp="1"/>
          </p:cNvSpPr>
          <p:nvPr>
            <p:ph type="sldNum" sz="quarter" idx="11"/>
          </p:nvPr>
        </p:nvSpPr>
        <p:spPr>
          <a:xfrm>
            <a:off x="539664" y="6048399"/>
            <a:ext cx="360000" cy="179364"/>
          </a:xfrm>
        </p:spPr>
        <p:txBody>
          <a:bodyPr/>
          <a:lstStyle/>
          <a:p>
            <a:fld id="{DD6C52D8-AF7F-4297-9A35-2617B7FF1801}" type="slidenum">
              <a:rPr lang="en-US" smtClean="0"/>
              <a:pPr/>
              <a:t>16</a:t>
            </a:fld>
            <a:endParaRPr lang="en-US"/>
          </a:p>
        </p:txBody>
      </p:sp>
      <p:sp>
        <p:nvSpPr>
          <p:cNvPr id="19" name="masterSource">
            <a:extLst>
              <a:ext uri="{FF2B5EF4-FFF2-40B4-BE49-F238E27FC236}">
                <a16:creationId xmlns:a16="http://schemas.microsoft.com/office/drawing/2014/main" id="{9B73BA18-59D9-4740-88B2-85D465E33C93}"/>
              </a:ext>
            </a:extLst>
          </p:cNvPr>
          <p:cNvSpPr txBox="1"/>
          <p:nvPr>
            <p:custDataLst>
              <p:tags r:id="rId3"/>
            </p:custDataLst>
          </p:nvPr>
        </p:nvSpPr>
        <p:spPr bwMode="gray">
          <a:xfrm>
            <a:off x="539750" y="5724463"/>
            <a:ext cx="0" cy="108012"/>
          </a:xfrm>
          <a:prstGeom prst="rect">
            <a:avLst/>
          </a:prstGeom>
          <a:solidFill>
            <a:srgbClr val="FFFFFF"/>
          </a:solidFill>
        </p:spPr>
        <p:txBody>
          <a:bodyPr vert="horz" wrap="none" lIns="0" tIns="0" rIns="0" bIns="0" rtlCol="0" anchor="b">
            <a:noAutofit/>
          </a:bodyPr>
          <a:lstStyle>
            <a:defPPr>
              <a:defRPr lang="de-DE"/>
            </a:defPPr>
            <a:lvl1pPr>
              <a:defRPr sz="700">
                <a:solidFill>
                  <a:srgbClr val="000000"/>
                </a:solidFill>
                <a:latin typeface="Arial" panose="020B0604020202020204" pitchFamily="34" charset="0"/>
                <a:cs typeface="Arial" panose="020B0604020202020204" pitchFamily="34" charset="0"/>
              </a:defRPr>
            </a:lvl1pPr>
          </a:lstStyle>
          <a:p>
            <a:endParaRPr lang="en-US" dirty="0">
              <a:solidFill>
                <a:srgbClr val="001A54"/>
              </a:solidFill>
            </a:endParaRPr>
          </a:p>
        </p:txBody>
      </p:sp>
      <p:sp>
        <p:nvSpPr>
          <p:cNvPr id="3" name="TextBox 2">
            <a:extLst>
              <a:ext uri="{FF2B5EF4-FFF2-40B4-BE49-F238E27FC236}">
                <a16:creationId xmlns:a16="http://schemas.microsoft.com/office/drawing/2014/main" id="{7F3B4979-C2AE-D96D-40D5-519AF80B430A}"/>
              </a:ext>
            </a:extLst>
          </p:cNvPr>
          <p:cNvSpPr txBox="1"/>
          <p:nvPr/>
        </p:nvSpPr>
        <p:spPr>
          <a:xfrm>
            <a:off x="9973039" y="76927"/>
            <a:ext cx="1007699" cy="751809"/>
          </a:xfrm>
          <a:prstGeom prst="rect">
            <a:avLst/>
          </a:prstGeom>
          <a:noFill/>
          <a:ln>
            <a:solidFill>
              <a:srgbClr val="001A54"/>
            </a:solidFill>
          </a:ln>
        </p:spPr>
        <p:txBody>
          <a:bodyPr wrap="square" lIns="91440" tIns="0" rIns="0" bIns="0" rtlCol="0">
            <a:spAutoFit/>
          </a:bodyPr>
          <a:lstStyle/>
          <a:p>
            <a:pPr algn="l">
              <a:lnSpc>
                <a:spcPct val="120000"/>
              </a:lnSpc>
            </a:pPr>
            <a:r>
              <a:rPr lang="en-US" sz="1400" b="1" dirty="0"/>
              <a:t>Legend:</a:t>
            </a:r>
          </a:p>
          <a:p>
            <a:pPr algn="l">
              <a:lnSpc>
                <a:spcPct val="120000"/>
              </a:lnSpc>
            </a:pPr>
            <a:r>
              <a:rPr lang="en-US" sz="1400" dirty="0">
                <a:solidFill>
                  <a:schemeClr val="accent2"/>
                </a:solidFill>
              </a:rPr>
              <a:t>Less strict</a:t>
            </a:r>
          </a:p>
          <a:p>
            <a:pPr algn="l">
              <a:lnSpc>
                <a:spcPct val="120000"/>
              </a:lnSpc>
            </a:pPr>
            <a:r>
              <a:rPr lang="en-US" sz="1400" dirty="0">
                <a:solidFill>
                  <a:schemeClr val="accent5"/>
                </a:solidFill>
              </a:rPr>
              <a:t>More strict</a:t>
            </a:r>
          </a:p>
        </p:txBody>
      </p:sp>
      <p:sp>
        <p:nvSpPr>
          <p:cNvPr id="6" name="Footer Placeholder 2">
            <a:extLst>
              <a:ext uri="{FF2B5EF4-FFF2-40B4-BE49-F238E27FC236}">
                <a16:creationId xmlns:a16="http://schemas.microsoft.com/office/drawing/2014/main" id="{217D1440-4FF8-C763-A206-948AED4B84B7}"/>
              </a:ext>
            </a:extLst>
          </p:cNvPr>
          <p:cNvSpPr>
            <a:spLocks noGrp="1"/>
          </p:cNvSpPr>
          <p:nvPr>
            <p:ph type="ftr" sz="quarter" idx="10"/>
          </p:nvPr>
        </p:nvSpPr>
        <p:spPr>
          <a:xfrm>
            <a:off x="972123" y="6048375"/>
            <a:ext cx="4608513" cy="179364"/>
          </a:xfrm>
        </p:spPr>
        <p:txBody>
          <a:bodyPr/>
          <a:lstStyle/>
          <a:p>
            <a:r>
              <a:rPr lang="en-US" dirty="0"/>
              <a:t>IAV  05/2025  IAVJ  DKO  Status: draft, confidential</a:t>
            </a:r>
          </a:p>
        </p:txBody>
      </p:sp>
    </p:spTree>
    <p:custDataLst>
      <p:tags r:id="rId1"/>
    </p:custDataLst>
    <p:extLst>
      <p:ext uri="{BB962C8B-B14F-4D97-AF65-F5344CB8AC3E}">
        <p14:creationId xmlns:p14="http://schemas.microsoft.com/office/powerpoint/2010/main" val="280180491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9D54C8-8B45-6922-00AD-B6ACE50B1E4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4CD3CF8-D595-A331-2875-19A90CEA289F}"/>
              </a:ext>
            </a:extLst>
          </p:cNvPr>
          <p:cNvSpPr>
            <a:spLocks noGrp="1"/>
          </p:cNvSpPr>
          <p:nvPr>
            <p:ph type="title"/>
          </p:nvPr>
        </p:nvSpPr>
        <p:spPr/>
        <p:txBody>
          <a:bodyPr/>
          <a:lstStyle/>
          <a:p>
            <a:r>
              <a:rPr lang="en-US" dirty="0"/>
              <a:t>Agenda</a:t>
            </a:r>
          </a:p>
        </p:txBody>
      </p:sp>
      <p:sp>
        <p:nvSpPr>
          <p:cNvPr id="4" name="Slide Number Placeholder 3">
            <a:extLst>
              <a:ext uri="{FF2B5EF4-FFF2-40B4-BE49-F238E27FC236}">
                <a16:creationId xmlns:a16="http://schemas.microsoft.com/office/drawing/2014/main" id="{58EAE1AA-68A6-CB8F-D871-9779115E2AB7}"/>
              </a:ext>
            </a:extLst>
          </p:cNvPr>
          <p:cNvSpPr>
            <a:spLocks noGrp="1"/>
          </p:cNvSpPr>
          <p:nvPr>
            <p:ph type="sldNum" sz="quarter" idx="11"/>
          </p:nvPr>
        </p:nvSpPr>
        <p:spPr/>
        <p:txBody>
          <a:bodyPr/>
          <a:lstStyle/>
          <a:p>
            <a:fld id="{DD6C52D8-AF7F-4297-9A35-2617B7FF1801}" type="slidenum">
              <a:rPr lang="en-US" smtClean="0"/>
              <a:pPr/>
              <a:t>17</a:t>
            </a:fld>
            <a:endParaRPr lang="en-US" dirty="0"/>
          </a:p>
        </p:txBody>
      </p:sp>
      <p:graphicFrame>
        <p:nvGraphicFramePr>
          <p:cNvPr id="5" name="Diagram 4">
            <a:extLst>
              <a:ext uri="{FF2B5EF4-FFF2-40B4-BE49-F238E27FC236}">
                <a16:creationId xmlns:a16="http://schemas.microsoft.com/office/drawing/2014/main" id="{9C653267-BADF-90B0-8AF1-D1699FA9B5A7}"/>
              </a:ext>
            </a:extLst>
          </p:cNvPr>
          <p:cNvGraphicFramePr/>
          <p:nvPr>
            <p:extLst>
              <p:ext uri="{D42A27DB-BD31-4B8C-83A1-F6EECF244321}">
                <p14:modId xmlns:p14="http://schemas.microsoft.com/office/powerpoint/2010/main" val="341553006"/>
              </p:ext>
            </p:extLst>
          </p:nvPr>
        </p:nvGraphicFramePr>
        <p:xfrm>
          <a:off x="1920081" y="679979"/>
          <a:ext cx="7680325" cy="512021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Footer Placeholder 2">
            <a:extLst>
              <a:ext uri="{FF2B5EF4-FFF2-40B4-BE49-F238E27FC236}">
                <a16:creationId xmlns:a16="http://schemas.microsoft.com/office/drawing/2014/main" id="{73EF1384-6E9B-B587-C2AD-189BB5ACD7F7}"/>
              </a:ext>
            </a:extLst>
          </p:cNvPr>
          <p:cNvSpPr>
            <a:spLocks noGrp="1"/>
          </p:cNvSpPr>
          <p:nvPr>
            <p:ph type="ftr" sz="quarter" idx="10"/>
          </p:nvPr>
        </p:nvSpPr>
        <p:spPr>
          <a:xfrm>
            <a:off x="972123" y="6048375"/>
            <a:ext cx="4608513" cy="179364"/>
          </a:xfrm>
        </p:spPr>
        <p:txBody>
          <a:bodyPr/>
          <a:lstStyle/>
          <a:p>
            <a:r>
              <a:rPr lang="en-US" dirty="0"/>
              <a:t>IAV  05/2025  IAVJ  DKO  Status: draft, confidential</a:t>
            </a:r>
          </a:p>
        </p:txBody>
      </p:sp>
    </p:spTree>
    <p:extLst>
      <p:ext uri="{BB962C8B-B14F-4D97-AF65-F5344CB8AC3E}">
        <p14:creationId xmlns:p14="http://schemas.microsoft.com/office/powerpoint/2010/main" val="415358382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3C3C6A-703A-29E4-4319-A426526CE50D}"/>
              </a:ext>
            </a:extLst>
          </p:cNvPr>
          <p:cNvSpPr>
            <a:spLocks noGrp="1"/>
          </p:cNvSpPr>
          <p:nvPr>
            <p:ph type="title"/>
          </p:nvPr>
        </p:nvSpPr>
        <p:spPr/>
        <p:txBody>
          <a:bodyPr/>
          <a:lstStyle/>
          <a:p>
            <a:r>
              <a:rPr lang="en-US" dirty="0"/>
              <a:t>Future Technologies – Quantum Computing</a:t>
            </a:r>
          </a:p>
        </p:txBody>
      </p:sp>
      <p:sp>
        <p:nvSpPr>
          <p:cNvPr id="4" name="Slide Number Placeholder 3">
            <a:extLst>
              <a:ext uri="{FF2B5EF4-FFF2-40B4-BE49-F238E27FC236}">
                <a16:creationId xmlns:a16="http://schemas.microsoft.com/office/drawing/2014/main" id="{4DA92FF1-8DE4-85CD-8FB5-BF05E6CC772E}"/>
              </a:ext>
            </a:extLst>
          </p:cNvPr>
          <p:cNvSpPr>
            <a:spLocks noGrp="1"/>
          </p:cNvSpPr>
          <p:nvPr>
            <p:ph type="sldNum" sz="quarter" idx="11"/>
          </p:nvPr>
        </p:nvSpPr>
        <p:spPr/>
        <p:txBody>
          <a:bodyPr/>
          <a:lstStyle/>
          <a:p>
            <a:fld id="{DD6C52D8-AF7F-4297-9A35-2617B7FF1801}" type="slidenum">
              <a:rPr lang="en-US" smtClean="0"/>
              <a:pPr/>
              <a:t>18</a:t>
            </a:fld>
            <a:endParaRPr lang="en-US" dirty="0"/>
          </a:p>
        </p:txBody>
      </p:sp>
      <p:pic>
        <p:nvPicPr>
          <p:cNvPr id="6" name="Picture 5">
            <a:extLst>
              <a:ext uri="{FF2B5EF4-FFF2-40B4-BE49-F238E27FC236}">
                <a16:creationId xmlns:a16="http://schemas.microsoft.com/office/drawing/2014/main" id="{157D9F5E-4EB9-546F-C79A-C8EFA5175008}"/>
              </a:ext>
            </a:extLst>
          </p:cNvPr>
          <p:cNvPicPr>
            <a:picLocks noChangeAspect="1"/>
          </p:cNvPicPr>
          <p:nvPr/>
        </p:nvPicPr>
        <p:blipFill>
          <a:blip r:embed="rId3"/>
          <a:srcRect b="45362"/>
          <a:stretch/>
        </p:blipFill>
        <p:spPr>
          <a:xfrm>
            <a:off x="448476" y="2369244"/>
            <a:ext cx="7769953" cy="1341261"/>
          </a:xfrm>
          <a:prstGeom prst="rect">
            <a:avLst/>
          </a:prstGeom>
        </p:spPr>
      </p:pic>
      <p:sp>
        <p:nvSpPr>
          <p:cNvPr id="7" name="TextBox 6">
            <a:extLst>
              <a:ext uri="{FF2B5EF4-FFF2-40B4-BE49-F238E27FC236}">
                <a16:creationId xmlns:a16="http://schemas.microsoft.com/office/drawing/2014/main" id="{EE06C55A-B81D-A8B1-8663-6C5875DB4E8E}"/>
              </a:ext>
            </a:extLst>
          </p:cNvPr>
          <p:cNvSpPr txBox="1"/>
          <p:nvPr/>
        </p:nvSpPr>
        <p:spPr>
          <a:xfrm>
            <a:off x="3203960" y="6016434"/>
            <a:ext cx="9541060" cy="375937"/>
          </a:xfrm>
          <a:prstGeom prst="rect">
            <a:avLst/>
          </a:prstGeom>
          <a:noFill/>
        </p:spPr>
        <p:txBody>
          <a:bodyPr wrap="square" lIns="0" tIns="0" rIns="0" bIns="0" rtlCol="0">
            <a:spAutoFit/>
          </a:bodyPr>
          <a:lstStyle/>
          <a:p>
            <a:pPr>
              <a:lnSpc>
                <a:spcPct val="120000"/>
              </a:lnSpc>
              <a:spcBef>
                <a:spcPts val="800"/>
              </a:spcBef>
            </a:pPr>
            <a:r>
              <a:rPr lang="en-US" sz="700" dirty="0">
                <a:solidFill>
                  <a:schemeClr val="bg1">
                    <a:lumMod val="65000"/>
                  </a:schemeClr>
                </a:solidFill>
              </a:rPr>
              <a:t>Ref: https://content.techgig.com/technology/the-dawn-of-quantum-computing-introducing-qnodeos-the-first-quantum-operating-system/articleshow/120586133.cms</a:t>
            </a:r>
            <a:br>
              <a:rPr lang="en-US" sz="700" dirty="0">
                <a:solidFill>
                  <a:schemeClr val="bg1">
                    <a:lumMod val="65000"/>
                  </a:schemeClr>
                </a:solidFill>
              </a:rPr>
            </a:br>
            <a:r>
              <a:rPr lang="en-US" sz="700" dirty="0">
                <a:solidFill>
                  <a:schemeClr val="bg1">
                    <a:lumMod val="65000"/>
                  </a:schemeClr>
                </a:solidFill>
              </a:rPr>
              <a:t>https://news.microsoft.com/source/features/innovation/microsofts-majorana-1-chip-carves-new-path-for-quantum-computing/</a:t>
            </a:r>
            <a:br>
              <a:rPr lang="en-US" sz="700" dirty="0">
                <a:solidFill>
                  <a:schemeClr val="bg1">
                    <a:lumMod val="65000"/>
                  </a:schemeClr>
                </a:solidFill>
              </a:rPr>
            </a:br>
            <a:r>
              <a:rPr lang="en-US" sz="700" dirty="0">
                <a:solidFill>
                  <a:schemeClr val="bg1">
                    <a:lumMod val="65000"/>
                  </a:schemeClr>
                </a:solidFill>
              </a:rPr>
              <a:t>https://www.fujitsu.com/global/about/resources/news/press-releases/2025/0422-01.html</a:t>
            </a:r>
          </a:p>
        </p:txBody>
      </p:sp>
      <p:pic>
        <p:nvPicPr>
          <p:cNvPr id="9" name="Picture 8">
            <a:extLst>
              <a:ext uri="{FF2B5EF4-FFF2-40B4-BE49-F238E27FC236}">
                <a16:creationId xmlns:a16="http://schemas.microsoft.com/office/drawing/2014/main" id="{151BE9C6-9BA8-0FFC-CB30-38F8F0971791}"/>
              </a:ext>
            </a:extLst>
          </p:cNvPr>
          <p:cNvPicPr>
            <a:picLocks noChangeAspect="1"/>
          </p:cNvPicPr>
          <p:nvPr/>
        </p:nvPicPr>
        <p:blipFill>
          <a:blip r:embed="rId4"/>
          <a:stretch>
            <a:fillRect/>
          </a:stretch>
        </p:blipFill>
        <p:spPr>
          <a:xfrm>
            <a:off x="448476" y="1029612"/>
            <a:ext cx="7634648" cy="1067622"/>
          </a:xfrm>
          <a:prstGeom prst="rect">
            <a:avLst/>
          </a:prstGeom>
        </p:spPr>
      </p:pic>
      <p:pic>
        <p:nvPicPr>
          <p:cNvPr id="11" name="Picture 10">
            <a:extLst>
              <a:ext uri="{FF2B5EF4-FFF2-40B4-BE49-F238E27FC236}">
                <a16:creationId xmlns:a16="http://schemas.microsoft.com/office/drawing/2014/main" id="{167699BF-EA73-5F36-15B2-077FC4D321FA}"/>
              </a:ext>
            </a:extLst>
          </p:cNvPr>
          <p:cNvPicPr>
            <a:picLocks noChangeAspect="1"/>
          </p:cNvPicPr>
          <p:nvPr/>
        </p:nvPicPr>
        <p:blipFill>
          <a:blip r:embed="rId5"/>
          <a:srcRect b="35398"/>
          <a:stretch/>
        </p:blipFill>
        <p:spPr>
          <a:xfrm>
            <a:off x="8229390" y="1016296"/>
            <a:ext cx="1381318" cy="1181602"/>
          </a:xfrm>
          <a:prstGeom prst="rect">
            <a:avLst/>
          </a:prstGeom>
        </p:spPr>
      </p:pic>
      <p:sp>
        <p:nvSpPr>
          <p:cNvPr id="12" name="Rectangle: Rounded Corners 11">
            <a:extLst>
              <a:ext uri="{FF2B5EF4-FFF2-40B4-BE49-F238E27FC236}">
                <a16:creationId xmlns:a16="http://schemas.microsoft.com/office/drawing/2014/main" id="{C344FF6F-BC0A-A1FA-BC76-EAE2D34DC9B2}"/>
              </a:ext>
            </a:extLst>
          </p:cNvPr>
          <p:cNvSpPr/>
          <p:nvPr/>
        </p:nvSpPr>
        <p:spPr>
          <a:xfrm>
            <a:off x="8226918" y="1816827"/>
            <a:ext cx="1381318" cy="352653"/>
          </a:xfrm>
          <a:prstGeom prst="roundRect">
            <a:avLst/>
          </a:prstGeom>
          <a:solidFill>
            <a:srgbClr val="FFD8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lstStyle/>
          <a:p>
            <a:pPr algn="l">
              <a:spcBef>
                <a:spcPts val="800"/>
              </a:spcBef>
            </a:pPr>
            <a:endParaRPr lang="en-US" sz="1600" dirty="0" err="1"/>
          </a:p>
        </p:txBody>
      </p:sp>
      <p:sp>
        <p:nvSpPr>
          <p:cNvPr id="13" name="Rectangle: Rounded Corners 12">
            <a:extLst>
              <a:ext uri="{FF2B5EF4-FFF2-40B4-BE49-F238E27FC236}">
                <a16:creationId xmlns:a16="http://schemas.microsoft.com/office/drawing/2014/main" id="{E4E252F2-3B7E-1274-4A1E-3E121D841307}"/>
              </a:ext>
            </a:extLst>
          </p:cNvPr>
          <p:cNvSpPr/>
          <p:nvPr/>
        </p:nvSpPr>
        <p:spPr>
          <a:xfrm>
            <a:off x="1344134" y="3320823"/>
            <a:ext cx="1008112" cy="352653"/>
          </a:xfrm>
          <a:prstGeom prst="roundRect">
            <a:avLst/>
          </a:prstGeom>
          <a:solidFill>
            <a:srgbClr val="FFD8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lstStyle/>
          <a:p>
            <a:pPr algn="l">
              <a:spcBef>
                <a:spcPts val="800"/>
              </a:spcBef>
            </a:pPr>
            <a:endParaRPr lang="en-US" sz="1600" dirty="0" err="1"/>
          </a:p>
        </p:txBody>
      </p:sp>
      <p:sp>
        <p:nvSpPr>
          <p:cNvPr id="14" name="Rectangle: Rounded Corners 13">
            <a:extLst>
              <a:ext uri="{FF2B5EF4-FFF2-40B4-BE49-F238E27FC236}">
                <a16:creationId xmlns:a16="http://schemas.microsoft.com/office/drawing/2014/main" id="{9FFDD246-2069-85F5-BDE4-300D3F90C14B}"/>
              </a:ext>
            </a:extLst>
          </p:cNvPr>
          <p:cNvSpPr/>
          <p:nvPr/>
        </p:nvSpPr>
        <p:spPr>
          <a:xfrm>
            <a:off x="1007716" y="5316168"/>
            <a:ext cx="9397044" cy="529084"/>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lstStyle/>
          <a:p>
            <a:pPr algn="ctr">
              <a:spcBef>
                <a:spcPts val="800"/>
              </a:spcBef>
            </a:pPr>
            <a:r>
              <a:rPr lang="en-US" sz="2000" dirty="0"/>
              <a:t>New advancements in Quantum Computing</a:t>
            </a:r>
          </a:p>
        </p:txBody>
      </p:sp>
      <p:pic>
        <p:nvPicPr>
          <p:cNvPr id="16" name="Picture 15">
            <a:extLst>
              <a:ext uri="{FF2B5EF4-FFF2-40B4-BE49-F238E27FC236}">
                <a16:creationId xmlns:a16="http://schemas.microsoft.com/office/drawing/2014/main" id="{37D816FF-2BA0-BF02-F69F-77B45D448FB0}"/>
              </a:ext>
            </a:extLst>
          </p:cNvPr>
          <p:cNvPicPr>
            <a:picLocks noChangeAspect="1"/>
          </p:cNvPicPr>
          <p:nvPr/>
        </p:nvPicPr>
        <p:blipFill>
          <a:blip r:embed="rId6"/>
          <a:stretch>
            <a:fillRect/>
          </a:stretch>
        </p:blipFill>
        <p:spPr>
          <a:xfrm>
            <a:off x="538106" y="4010548"/>
            <a:ext cx="9043077" cy="1040274"/>
          </a:xfrm>
          <a:prstGeom prst="rect">
            <a:avLst/>
          </a:prstGeom>
        </p:spPr>
      </p:pic>
      <p:pic>
        <p:nvPicPr>
          <p:cNvPr id="18" name="Picture 17">
            <a:extLst>
              <a:ext uri="{FF2B5EF4-FFF2-40B4-BE49-F238E27FC236}">
                <a16:creationId xmlns:a16="http://schemas.microsoft.com/office/drawing/2014/main" id="{DEE4BFC7-577D-CCB7-8AF8-A5C5047487D0}"/>
              </a:ext>
            </a:extLst>
          </p:cNvPr>
          <p:cNvPicPr>
            <a:picLocks noChangeAspect="1"/>
          </p:cNvPicPr>
          <p:nvPr/>
        </p:nvPicPr>
        <p:blipFill>
          <a:blip r:embed="rId7"/>
          <a:srcRect t="68266"/>
          <a:stretch/>
        </p:blipFill>
        <p:spPr>
          <a:xfrm>
            <a:off x="8171927" y="4604364"/>
            <a:ext cx="2698475" cy="317074"/>
          </a:xfrm>
          <a:prstGeom prst="rect">
            <a:avLst/>
          </a:prstGeom>
        </p:spPr>
      </p:pic>
      <p:sp>
        <p:nvSpPr>
          <p:cNvPr id="19" name="Rectangle: Rounded Corners 18">
            <a:extLst>
              <a:ext uri="{FF2B5EF4-FFF2-40B4-BE49-F238E27FC236}">
                <a16:creationId xmlns:a16="http://schemas.microsoft.com/office/drawing/2014/main" id="{53457E45-C265-42AA-1A30-841A2EA42C07}"/>
              </a:ext>
            </a:extLst>
          </p:cNvPr>
          <p:cNvSpPr/>
          <p:nvPr/>
        </p:nvSpPr>
        <p:spPr>
          <a:xfrm>
            <a:off x="9900703" y="4604364"/>
            <a:ext cx="969699" cy="352653"/>
          </a:xfrm>
          <a:prstGeom prst="roundRect">
            <a:avLst/>
          </a:prstGeom>
          <a:solidFill>
            <a:srgbClr val="FFD8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lstStyle/>
          <a:p>
            <a:pPr algn="l">
              <a:spcBef>
                <a:spcPts val="800"/>
              </a:spcBef>
            </a:pPr>
            <a:endParaRPr lang="en-US" sz="1600" dirty="0" err="1"/>
          </a:p>
        </p:txBody>
      </p:sp>
      <p:sp>
        <p:nvSpPr>
          <p:cNvPr id="20" name="Rectangle: Rounded Corners 19">
            <a:extLst>
              <a:ext uri="{FF2B5EF4-FFF2-40B4-BE49-F238E27FC236}">
                <a16:creationId xmlns:a16="http://schemas.microsoft.com/office/drawing/2014/main" id="{7741613C-89DB-8752-16E9-598136F65780}"/>
              </a:ext>
            </a:extLst>
          </p:cNvPr>
          <p:cNvSpPr/>
          <p:nvPr/>
        </p:nvSpPr>
        <p:spPr>
          <a:xfrm>
            <a:off x="2757162" y="1052401"/>
            <a:ext cx="3002288" cy="495498"/>
          </a:xfrm>
          <a:prstGeom prst="roundRect">
            <a:avLst/>
          </a:prstGeom>
          <a:solidFill>
            <a:srgbClr val="FFD8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lstStyle/>
          <a:p>
            <a:pPr algn="l">
              <a:spcBef>
                <a:spcPts val="800"/>
              </a:spcBef>
            </a:pPr>
            <a:endParaRPr lang="en-US" sz="1600" dirty="0" err="1"/>
          </a:p>
        </p:txBody>
      </p:sp>
      <p:sp>
        <p:nvSpPr>
          <p:cNvPr id="21" name="Rectangle: Rounded Corners 20">
            <a:extLst>
              <a:ext uri="{FF2B5EF4-FFF2-40B4-BE49-F238E27FC236}">
                <a16:creationId xmlns:a16="http://schemas.microsoft.com/office/drawing/2014/main" id="{AFDAFDA5-3A97-94CA-0F7E-89843B9BF3FF}"/>
              </a:ext>
            </a:extLst>
          </p:cNvPr>
          <p:cNvSpPr/>
          <p:nvPr/>
        </p:nvSpPr>
        <p:spPr>
          <a:xfrm>
            <a:off x="4205094" y="2348261"/>
            <a:ext cx="2491254" cy="495498"/>
          </a:xfrm>
          <a:prstGeom prst="roundRect">
            <a:avLst/>
          </a:prstGeom>
          <a:solidFill>
            <a:srgbClr val="FFD8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lstStyle/>
          <a:p>
            <a:pPr algn="l">
              <a:spcBef>
                <a:spcPts val="800"/>
              </a:spcBef>
            </a:pPr>
            <a:endParaRPr lang="en-US" sz="1600" dirty="0" err="1"/>
          </a:p>
        </p:txBody>
      </p:sp>
      <p:sp>
        <p:nvSpPr>
          <p:cNvPr id="22" name="Rectangle: Rounded Corners 21">
            <a:extLst>
              <a:ext uri="{FF2B5EF4-FFF2-40B4-BE49-F238E27FC236}">
                <a16:creationId xmlns:a16="http://schemas.microsoft.com/office/drawing/2014/main" id="{2C8D58BB-0C03-2D7D-F3C5-3AF08B9510DF}"/>
              </a:ext>
            </a:extLst>
          </p:cNvPr>
          <p:cNvSpPr/>
          <p:nvPr/>
        </p:nvSpPr>
        <p:spPr>
          <a:xfrm>
            <a:off x="538106" y="2761507"/>
            <a:ext cx="3133906" cy="495498"/>
          </a:xfrm>
          <a:prstGeom prst="roundRect">
            <a:avLst/>
          </a:prstGeom>
          <a:solidFill>
            <a:srgbClr val="FFD8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lstStyle/>
          <a:p>
            <a:pPr algn="l">
              <a:spcBef>
                <a:spcPts val="800"/>
              </a:spcBef>
            </a:pPr>
            <a:endParaRPr lang="en-US" sz="1600" dirty="0" err="1"/>
          </a:p>
        </p:txBody>
      </p:sp>
      <p:sp>
        <p:nvSpPr>
          <p:cNvPr id="23" name="Rectangle: Rounded Corners 22">
            <a:extLst>
              <a:ext uri="{FF2B5EF4-FFF2-40B4-BE49-F238E27FC236}">
                <a16:creationId xmlns:a16="http://schemas.microsoft.com/office/drawing/2014/main" id="{B13459BD-9948-9D24-0801-8838D238B204}"/>
              </a:ext>
            </a:extLst>
          </p:cNvPr>
          <p:cNvSpPr/>
          <p:nvPr/>
        </p:nvSpPr>
        <p:spPr>
          <a:xfrm>
            <a:off x="5256187" y="3988847"/>
            <a:ext cx="4324995" cy="495498"/>
          </a:xfrm>
          <a:prstGeom prst="roundRect">
            <a:avLst/>
          </a:prstGeom>
          <a:solidFill>
            <a:srgbClr val="FFD8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lstStyle/>
          <a:p>
            <a:pPr algn="l">
              <a:spcBef>
                <a:spcPts val="800"/>
              </a:spcBef>
            </a:pPr>
            <a:endParaRPr lang="en-US" sz="1600" dirty="0" err="1"/>
          </a:p>
        </p:txBody>
      </p:sp>
      <p:sp>
        <p:nvSpPr>
          <p:cNvPr id="5" name="Footer Placeholder 2">
            <a:extLst>
              <a:ext uri="{FF2B5EF4-FFF2-40B4-BE49-F238E27FC236}">
                <a16:creationId xmlns:a16="http://schemas.microsoft.com/office/drawing/2014/main" id="{DAC293D0-DBE0-E83D-22C7-D92F72A9F838}"/>
              </a:ext>
            </a:extLst>
          </p:cNvPr>
          <p:cNvSpPr>
            <a:spLocks noGrp="1"/>
          </p:cNvSpPr>
          <p:nvPr>
            <p:ph type="ftr" sz="quarter" idx="10"/>
          </p:nvPr>
        </p:nvSpPr>
        <p:spPr>
          <a:xfrm>
            <a:off x="972123" y="6048375"/>
            <a:ext cx="4608513" cy="179364"/>
          </a:xfrm>
        </p:spPr>
        <p:txBody>
          <a:bodyPr/>
          <a:lstStyle/>
          <a:p>
            <a:r>
              <a:rPr lang="en-US" dirty="0"/>
              <a:t>IAV  05/2025  IAVJ  DKO  Status: draft, confidential</a:t>
            </a:r>
          </a:p>
        </p:txBody>
      </p:sp>
    </p:spTree>
    <p:extLst>
      <p:ext uri="{BB962C8B-B14F-4D97-AF65-F5344CB8AC3E}">
        <p14:creationId xmlns:p14="http://schemas.microsoft.com/office/powerpoint/2010/main" val="184605288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7A131A1-1A99-E394-E639-A91C3286DD1F}"/>
              </a:ext>
            </a:extLst>
          </p:cNvPr>
          <p:cNvSpPr/>
          <p:nvPr/>
        </p:nvSpPr>
        <p:spPr>
          <a:xfrm>
            <a:off x="539664" y="1295401"/>
            <a:ext cx="5040399" cy="3804842"/>
          </a:xfrm>
          <a:prstGeom prst="rect">
            <a:avLst/>
          </a:prstGeom>
          <a:solidFill>
            <a:schemeClr val="tx2">
              <a:lumMod val="20000"/>
              <a:lumOff val="8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lstStyle/>
          <a:p>
            <a:pPr algn="l">
              <a:spcBef>
                <a:spcPts val="800"/>
              </a:spcBef>
            </a:pPr>
            <a:endParaRPr lang="en-US" sz="1600" dirty="0" err="1"/>
          </a:p>
        </p:txBody>
      </p:sp>
      <p:sp>
        <p:nvSpPr>
          <p:cNvPr id="12" name="Rectangle 11">
            <a:extLst>
              <a:ext uri="{FF2B5EF4-FFF2-40B4-BE49-F238E27FC236}">
                <a16:creationId xmlns:a16="http://schemas.microsoft.com/office/drawing/2014/main" id="{97222CE0-C4D4-0666-2B02-65849E12F345}"/>
              </a:ext>
            </a:extLst>
          </p:cNvPr>
          <p:cNvSpPr/>
          <p:nvPr/>
        </p:nvSpPr>
        <p:spPr>
          <a:xfrm>
            <a:off x="5939851" y="1295401"/>
            <a:ext cx="5040399" cy="3804842"/>
          </a:xfrm>
          <a:prstGeom prst="rect">
            <a:avLst/>
          </a:prstGeom>
          <a:solidFill>
            <a:schemeClr val="tx2">
              <a:lumMod val="20000"/>
              <a:lumOff val="8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lstStyle/>
          <a:p>
            <a:pPr algn="l">
              <a:spcBef>
                <a:spcPts val="800"/>
              </a:spcBef>
            </a:pPr>
            <a:endParaRPr lang="en-US" sz="1600" dirty="0" err="1"/>
          </a:p>
        </p:txBody>
      </p:sp>
      <p:sp>
        <p:nvSpPr>
          <p:cNvPr id="5" name="Title 4">
            <a:extLst>
              <a:ext uri="{FF2B5EF4-FFF2-40B4-BE49-F238E27FC236}">
                <a16:creationId xmlns:a16="http://schemas.microsoft.com/office/drawing/2014/main" id="{899DCF3C-FDF0-F2EC-4752-ACE9690FDDD4}"/>
              </a:ext>
            </a:extLst>
          </p:cNvPr>
          <p:cNvSpPr>
            <a:spLocks noGrp="1"/>
          </p:cNvSpPr>
          <p:nvPr>
            <p:ph type="title"/>
          </p:nvPr>
        </p:nvSpPr>
        <p:spPr/>
        <p:txBody>
          <a:bodyPr/>
          <a:lstStyle/>
          <a:p>
            <a:r>
              <a:rPr lang="en-US" dirty="0"/>
              <a:t>Quantum Computing Impact on Cybersecurity</a:t>
            </a:r>
          </a:p>
        </p:txBody>
      </p:sp>
      <p:sp>
        <p:nvSpPr>
          <p:cNvPr id="6" name="Content Placeholder 5">
            <a:extLst>
              <a:ext uri="{FF2B5EF4-FFF2-40B4-BE49-F238E27FC236}">
                <a16:creationId xmlns:a16="http://schemas.microsoft.com/office/drawing/2014/main" id="{63293545-7AF4-E8FF-9593-E52C42C9530D}"/>
              </a:ext>
            </a:extLst>
          </p:cNvPr>
          <p:cNvSpPr>
            <a:spLocks noGrp="1"/>
          </p:cNvSpPr>
          <p:nvPr>
            <p:ph sz="quarter" idx="12"/>
          </p:nvPr>
        </p:nvSpPr>
        <p:spPr>
          <a:xfrm>
            <a:off x="539750" y="1848833"/>
            <a:ext cx="5040886" cy="3983641"/>
          </a:xfrm>
        </p:spPr>
        <p:txBody>
          <a:bodyPr/>
          <a:lstStyle/>
          <a:p>
            <a:r>
              <a:rPr lang="en-US" dirty="0"/>
              <a:t>Can factor large integers </a:t>
            </a:r>
            <a:r>
              <a:rPr lang="en-US" dirty="0">
                <a:solidFill>
                  <a:schemeClr val="accent5"/>
                </a:solidFill>
              </a:rPr>
              <a:t>exponentially</a:t>
            </a:r>
            <a:r>
              <a:rPr lang="en-US" dirty="0"/>
              <a:t> faster than best-known classical algorithms</a:t>
            </a:r>
          </a:p>
          <a:p>
            <a:endParaRPr lang="en-US" dirty="0"/>
          </a:p>
          <a:p>
            <a:r>
              <a:rPr lang="en-US" dirty="0"/>
              <a:t>Affects: </a:t>
            </a:r>
            <a:r>
              <a:rPr lang="en-US" dirty="0">
                <a:solidFill>
                  <a:schemeClr val="accent5"/>
                </a:solidFill>
              </a:rPr>
              <a:t>Asymmetric</a:t>
            </a:r>
            <a:r>
              <a:rPr lang="en-US" dirty="0"/>
              <a:t> encryption algorithms that rely on the difficulty of factoring large integers or finding discrete logarithms</a:t>
            </a:r>
          </a:p>
          <a:p>
            <a:pPr marL="0" indent="0">
              <a:buNone/>
            </a:pPr>
            <a:endParaRPr lang="en-US" dirty="0"/>
          </a:p>
          <a:p>
            <a:r>
              <a:rPr lang="en-US" dirty="0"/>
              <a:t>Result: </a:t>
            </a:r>
            <a:r>
              <a:rPr lang="en-US" dirty="0">
                <a:solidFill>
                  <a:schemeClr val="accent5"/>
                </a:solidFill>
              </a:rPr>
              <a:t>Big threat</a:t>
            </a:r>
            <a:r>
              <a:rPr lang="en-US" dirty="0"/>
              <a:t> – e.g., </a:t>
            </a:r>
            <a:r>
              <a:rPr lang="en-US" dirty="0">
                <a:solidFill>
                  <a:schemeClr val="accent5"/>
                </a:solidFill>
              </a:rPr>
              <a:t>RSA</a:t>
            </a:r>
            <a:r>
              <a:rPr lang="en-US" dirty="0"/>
              <a:t> and </a:t>
            </a:r>
            <a:r>
              <a:rPr lang="en-US" dirty="0">
                <a:solidFill>
                  <a:schemeClr val="accent5"/>
                </a:solidFill>
              </a:rPr>
              <a:t>ECC</a:t>
            </a:r>
            <a:r>
              <a:rPr lang="en-US" dirty="0"/>
              <a:t> could be </a:t>
            </a:r>
            <a:r>
              <a:rPr lang="en-US" dirty="0">
                <a:solidFill>
                  <a:schemeClr val="accent5"/>
                </a:solidFill>
              </a:rPr>
              <a:t>completely broken</a:t>
            </a:r>
            <a:r>
              <a:rPr lang="en-US" dirty="0"/>
              <a:t> – private keys can be extracted from public keys</a:t>
            </a:r>
          </a:p>
          <a:p>
            <a:pPr marL="0" indent="0">
              <a:buNone/>
            </a:pPr>
            <a:endParaRPr lang="en-US" dirty="0"/>
          </a:p>
        </p:txBody>
      </p:sp>
      <p:sp>
        <p:nvSpPr>
          <p:cNvPr id="7" name="Content Placeholder 6">
            <a:extLst>
              <a:ext uri="{FF2B5EF4-FFF2-40B4-BE49-F238E27FC236}">
                <a16:creationId xmlns:a16="http://schemas.microsoft.com/office/drawing/2014/main" id="{F9057DCB-EE69-7565-B8EB-14F6D65D4787}"/>
              </a:ext>
            </a:extLst>
          </p:cNvPr>
          <p:cNvSpPr>
            <a:spLocks noGrp="1"/>
          </p:cNvSpPr>
          <p:nvPr>
            <p:ph sz="quarter" idx="13"/>
          </p:nvPr>
        </p:nvSpPr>
        <p:spPr>
          <a:xfrm>
            <a:off x="5940424" y="1848833"/>
            <a:ext cx="5040313" cy="3983642"/>
          </a:xfrm>
        </p:spPr>
        <p:txBody>
          <a:bodyPr/>
          <a:lstStyle/>
          <a:p>
            <a:r>
              <a:rPr lang="en-US" dirty="0"/>
              <a:t>Can speed up </a:t>
            </a:r>
            <a:r>
              <a:rPr lang="en-US" dirty="0" err="1"/>
              <a:t>bruteforce</a:t>
            </a:r>
            <a:r>
              <a:rPr lang="en-US" dirty="0"/>
              <a:t> attacks (but only by a </a:t>
            </a:r>
            <a:r>
              <a:rPr lang="en-US" dirty="0">
                <a:solidFill>
                  <a:schemeClr val="accent5"/>
                </a:solidFill>
              </a:rPr>
              <a:t>square root</a:t>
            </a:r>
            <a:r>
              <a:rPr lang="en-US" dirty="0"/>
              <a:t>)</a:t>
            </a:r>
          </a:p>
          <a:p>
            <a:endParaRPr lang="en-US" dirty="0"/>
          </a:p>
          <a:p>
            <a:r>
              <a:rPr lang="en-US" dirty="0"/>
              <a:t>Affects: </a:t>
            </a:r>
            <a:r>
              <a:rPr lang="en-US" dirty="0">
                <a:solidFill>
                  <a:schemeClr val="accent5"/>
                </a:solidFill>
              </a:rPr>
              <a:t>Symmetric </a:t>
            </a:r>
            <a:r>
              <a:rPr lang="en-US" dirty="0"/>
              <a:t>encryption algorithms that rely on key size and infeasibility of </a:t>
            </a:r>
            <a:r>
              <a:rPr lang="en-US" dirty="0" err="1"/>
              <a:t>bruteforcing</a:t>
            </a:r>
            <a:r>
              <a:rPr lang="en-US" dirty="0"/>
              <a:t> all possible keys</a:t>
            </a:r>
          </a:p>
          <a:p>
            <a:endParaRPr lang="en-US" dirty="0"/>
          </a:p>
          <a:p>
            <a:r>
              <a:rPr lang="en-US" dirty="0"/>
              <a:t>Result: </a:t>
            </a:r>
            <a:r>
              <a:rPr lang="en-US" dirty="0">
                <a:solidFill>
                  <a:schemeClr val="accent5"/>
                </a:solidFill>
              </a:rPr>
              <a:t>Partial threat</a:t>
            </a:r>
            <a:r>
              <a:rPr lang="en-US" dirty="0"/>
              <a:t> – e.g., </a:t>
            </a:r>
            <a:r>
              <a:rPr lang="en-US" dirty="0">
                <a:solidFill>
                  <a:schemeClr val="accent5"/>
                </a:solidFill>
              </a:rPr>
              <a:t>AES-128</a:t>
            </a:r>
            <a:r>
              <a:rPr lang="en-US" dirty="0"/>
              <a:t> would be </a:t>
            </a:r>
            <a:r>
              <a:rPr lang="en-US" dirty="0">
                <a:solidFill>
                  <a:schemeClr val="accent5"/>
                </a:solidFill>
              </a:rPr>
              <a:t>weakened to half the security</a:t>
            </a:r>
            <a:r>
              <a:rPr lang="en-US" dirty="0"/>
              <a:t> (64-bit strength)</a:t>
            </a:r>
          </a:p>
        </p:txBody>
      </p:sp>
      <p:sp>
        <p:nvSpPr>
          <p:cNvPr id="3" name="Footer Placeholder 2">
            <a:extLst>
              <a:ext uri="{FF2B5EF4-FFF2-40B4-BE49-F238E27FC236}">
                <a16:creationId xmlns:a16="http://schemas.microsoft.com/office/drawing/2014/main" id="{874A8F47-D5E1-E818-1639-52F933F82DD3}"/>
              </a:ext>
            </a:extLst>
          </p:cNvPr>
          <p:cNvSpPr>
            <a:spLocks noGrp="1"/>
          </p:cNvSpPr>
          <p:nvPr>
            <p:ph type="ftr" sz="quarter" idx="3"/>
          </p:nvPr>
        </p:nvSpPr>
        <p:spPr/>
        <p:txBody>
          <a:bodyPr/>
          <a:lstStyle/>
          <a:p>
            <a:r>
              <a:rPr lang="en-US" dirty="0"/>
              <a:t>IAV  05/2025  IAVJ  DKO  Status: draft, confidential</a:t>
            </a:r>
          </a:p>
        </p:txBody>
      </p:sp>
      <p:sp>
        <p:nvSpPr>
          <p:cNvPr id="4" name="Slide Number Placeholder 3">
            <a:extLst>
              <a:ext uri="{FF2B5EF4-FFF2-40B4-BE49-F238E27FC236}">
                <a16:creationId xmlns:a16="http://schemas.microsoft.com/office/drawing/2014/main" id="{A83A4882-21CB-D366-FF90-1D62805B802C}"/>
              </a:ext>
            </a:extLst>
          </p:cNvPr>
          <p:cNvSpPr>
            <a:spLocks noGrp="1"/>
          </p:cNvSpPr>
          <p:nvPr>
            <p:ph type="sldNum" sz="quarter" idx="4"/>
          </p:nvPr>
        </p:nvSpPr>
        <p:spPr/>
        <p:txBody>
          <a:bodyPr/>
          <a:lstStyle/>
          <a:p>
            <a:fld id="{DD6C52D8-AF7F-4297-9A35-2617B7FF1801}" type="slidenum">
              <a:rPr lang="en-US" smtClean="0"/>
              <a:pPr/>
              <a:t>19</a:t>
            </a:fld>
            <a:endParaRPr lang="en-US" dirty="0"/>
          </a:p>
        </p:txBody>
      </p:sp>
      <p:sp>
        <p:nvSpPr>
          <p:cNvPr id="8" name="Rectangle: Rounded Corners 7">
            <a:extLst>
              <a:ext uri="{FF2B5EF4-FFF2-40B4-BE49-F238E27FC236}">
                <a16:creationId xmlns:a16="http://schemas.microsoft.com/office/drawing/2014/main" id="{AA91A89A-D224-FD48-4ED0-04AF40127713}"/>
              </a:ext>
            </a:extLst>
          </p:cNvPr>
          <p:cNvSpPr/>
          <p:nvPr/>
        </p:nvSpPr>
        <p:spPr>
          <a:xfrm>
            <a:off x="1007716" y="5316168"/>
            <a:ext cx="9397044" cy="529084"/>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lstStyle/>
          <a:p>
            <a:pPr algn="ctr">
              <a:spcBef>
                <a:spcPts val="800"/>
              </a:spcBef>
            </a:pPr>
            <a:r>
              <a:rPr lang="en-US" sz="2000" dirty="0"/>
              <a:t>Quantum Computing has severe impact on Cybersecurity</a:t>
            </a:r>
          </a:p>
        </p:txBody>
      </p:sp>
      <p:sp>
        <p:nvSpPr>
          <p:cNvPr id="9" name="Rectangle: Rounded Corners 8">
            <a:extLst>
              <a:ext uri="{FF2B5EF4-FFF2-40B4-BE49-F238E27FC236}">
                <a16:creationId xmlns:a16="http://schemas.microsoft.com/office/drawing/2014/main" id="{BB9DFFAD-D4D5-3A74-18A1-0EF4B7BB7F28}"/>
              </a:ext>
            </a:extLst>
          </p:cNvPr>
          <p:cNvSpPr/>
          <p:nvPr/>
        </p:nvSpPr>
        <p:spPr>
          <a:xfrm>
            <a:off x="539750" y="1295401"/>
            <a:ext cx="5040313" cy="553432"/>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lstStyle/>
          <a:p>
            <a:pPr algn="ctr">
              <a:spcBef>
                <a:spcPts val="800"/>
              </a:spcBef>
            </a:pPr>
            <a:r>
              <a:rPr lang="en-US" sz="1800" dirty="0"/>
              <a:t>Shor’s algorithm</a:t>
            </a:r>
          </a:p>
        </p:txBody>
      </p:sp>
      <p:sp>
        <p:nvSpPr>
          <p:cNvPr id="10" name="Rectangle: Rounded Corners 9">
            <a:extLst>
              <a:ext uri="{FF2B5EF4-FFF2-40B4-BE49-F238E27FC236}">
                <a16:creationId xmlns:a16="http://schemas.microsoft.com/office/drawing/2014/main" id="{2E18375A-F211-8779-0DB3-5701B10CB2B4}"/>
              </a:ext>
            </a:extLst>
          </p:cNvPr>
          <p:cNvSpPr/>
          <p:nvPr/>
        </p:nvSpPr>
        <p:spPr>
          <a:xfrm>
            <a:off x="5940425" y="1295401"/>
            <a:ext cx="5040313" cy="553432"/>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lstStyle/>
          <a:p>
            <a:pPr algn="ctr">
              <a:spcBef>
                <a:spcPts val="800"/>
              </a:spcBef>
            </a:pPr>
            <a:r>
              <a:rPr lang="en-US" sz="1800" dirty="0"/>
              <a:t>Grover’s algorithm</a:t>
            </a:r>
          </a:p>
        </p:txBody>
      </p:sp>
      <p:sp>
        <p:nvSpPr>
          <p:cNvPr id="13" name="TextBox 12">
            <a:extLst>
              <a:ext uri="{FF2B5EF4-FFF2-40B4-BE49-F238E27FC236}">
                <a16:creationId xmlns:a16="http://schemas.microsoft.com/office/drawing/2014/main" id="{D9B56116-FF0E-EDDC-E7FC-E13FE1D2D946}"/>
              </a:ext>
            </a:extLst>
          </p:cNvPr>
          <p:cNvSpPr txBox="1"/>
          <p:nvPr/>
        </p:nvSpPr>
        <p:spPr>
          <a:xfrm>
            <a:off x="9199201" y="-1"/>
            <a:ext cx="3138292" cy="553998"/>
          </a:xfrm>
          <a:prstGeom prst="rect">
            <a:avLst/>
          </a:prstGeom>
          <a:noFill/>
        </p:spPr>
        <p:txBody>
          <a:bodyPr wrap="square" rtlCol="0">
            <a:spAutoFit/>
          </a:bodyPr>
          <a:lstStyle/>
          <a:p>
            <a:r>
              <a:rPr lang="en-US" sz="1000" dirty="0"/>
              <a:t>RSA: Rivest Shamir Adleman</a:t>
            </a:r>
          </a:p>
          <a:p>
            <a:pPr algn="l"/>
            <a:r>
              <a:rPr lang="en-US" sz="1000" dirty="0"/>
              <a:t>ECC: Elliptic Curve Cryptography</a:t>
            </a:r>
          </a:p>
          <a:p>
            <a:pPr algn="l"/>
            <a:r>
              <a:rPr lang="en-US" sz="1000" dirty="0"/>
              <a:t>AES: Advanced Encryption Standard</a:t>
            </a:r>
          </a:p>
        </p:txBody>
      </p:sp>
    </p:spTree>
    <p:extLst>
      <p:ext uri="{BB962C8B-B14F-4D97-AF65-F5344CB8AC3E}">
        <p14:creationId xmlns:p14="http://schemas.microsoft.com/office/powerpoint/2010/main" val="184979471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Bildplatzhalter 48">
            <a:extLst>
              <a:ext uri="{FF2B5EF4-FFF2-40B4-BE49-F238E27FC236}">
                <a16:creationId xmlns:a16="http://schemas.microsoft.com/office/drawing/2014/main" id="{9FD821AA-9D4F-E206-2949-FE680EF18794}"/>
              </a:ext>
            </a:extLst>
          </p:cNvPr>
          <p:cNvPicPr>
            <a:picLocks noGrp="1" noRot="1" noMove="1" noResize="1" noEditPoints="1" noAdjustHandles="1" noChangeArrowheads="1" noChangeShapeType="1" noCrop="1"/>
          </p:cNvPicPr>
          <p:nvPr/>
        </p:nvPicPr>
        <p:blipFill rotWithShape="1">
          <a:blip r:embed="rId19" cstate="print">
            <a:extLst>
              <a:ext uri="{28A0092B-C50C-407E-A947-70E740481C1C}">
                <a14:useLocalDpi xmlns:a14="http://schemas.microsoft.com/office/drawing/2010/main"/>
              </a:ext>
            </a:extLst>
          </a:blip>
          <a:srcRect t="13047" r="13047"/>
          <a:stretch/>
        </p:blipFill>
        <p:spPr>
          <a:xfrm rot="10800000" flipH="1">
            <a:off x="-396" y="-272"/>
            <a:ext cx="11520884" cy="6480448"/>
          </a:xfrm>
          <a:prstGeom prst="rect">
            <a:avLst/>
          </a:prstGeom>
        </p:spPr>
      </p:pic>
      <p:sp>
        <p:nvSpPr>
          <p:cNvPr id="6" name="Titel 5">
            <a:extLst>
              <a:ext uri="{FF2B5EF4-FFF2-40B4-BE49-F238E27FC236}">
                <a16:creationId xmlns:a16="http://schemas.microsoft.com/office/drawing/2014/main" id="{8D69834B-7B7B-127E-E410-BE695B82B838}"/>
              </a:ext>
            </a:extLst>
          </p:cNvPr>
          <p:cNvSpPr>
            <a:spLocks noGrp="1"/>
          </p:cNvSpPr>
          <p:nvPr>
            <p:ph type="title"/>
          </p:nvPr>
        </p:nvSpPr>
        <p:spPr/>
        <p:txBody>
          <a:bodyPr/>
          <a:lstStyle/>
          <a:p>
            <a:r>
              <a:rPr lang="en-US" dirty="0">
                <a:solidFill>
                  <a:srgbClr val="52C9FF"/>
                </a:solidFill>
              </a:rPr>
              <a:t>Introduction of IAV</a:t>
            </a:r>
            <a:endParaRPr lang="de-DE" dirty="0">
              <a:solidFill>
                <a:srgbClr val="96E7FF"/>
              </a:solidFill>
            </a:endParaRPr>
          </a:p>
        </p:txBody>
      </p:sp>
      <p:sp>
        <p:nvSpPr>
          <p:cNvPr id="5" name="Foliennummernplatzhalter 4">
            <a:extLst>
              <a:ext uri="{FF2B5EF4-FFF2-40B4-BE49-F238E27FC236}">
                <a16:creationId xmlns:a16="http://schemas.microsoft.com/office/drawing/2014/main" id="{722B24BD-90C6-F90F-52D1-E371404B4484}"/>
              </a:ext>
            </a:extLst>
          </p:cNvPr>
          <p:cNvSpPr>
            <a:spLocks noGrp="1"/>
          </p:cNvSpPr>
          <p:nvPr>
            <p:ph type="sldNum" sz="quarter" idx="11"/>
          </p:nvPr>
        </p:nvSpPr>
        <p:spPr/>
        <p:txBody>
          <a:bodyPr/>
          <a:lstStyle/>
          <a:p>
            <a:fld id="{C651C7C4-31E4-E340-822E-DEA0EA75A835}" type="slidenum">
              <a:rPr lang="en-US" smtClean="0">
                <a:solidFill>
                  <a:srgbClr val="FFFFFF"/>
                </a:solidFill>
              </a:rPr>
              <a:pPr/>
              <a:t>2</a:t>
            </a:fld>
            <a:endParaRPr lang="en-US">
              <a:solidFill>
                <a:srgbClr val="FFFFFF"/>
              </a:solidFill>
            </a:endParaRPr>
          </a:p>
        </p:txBody>
      </p:sp>
      <p:pic>
        <p:nvPicPr>
          <p:cNvPr id="13" name="IAV_Logo">
            <a:extLst>
              <a:ext uri="{FF2B5EF4-FFF2-40B4-BE49-F238E27FC236}">
                <a16:creationId xmlns:a16="http://schemas.microsoft.com/office/drawing/2014/main" id="{07832FA4-E598-5B81-7A14-560DE4BF9512}"/>
              </a:ext>
            </a:extLst>
          </p:cNvPr>
          <p:cNvPicPr>
            <a:picLocks noRot="1" noChangeAspect="1" noMove="1" noResize="1"/>
          </p:cNvPicPr>
          <p:nvPr>
            <p:custDataLst>
              <p:tags r:id="rId1"/>
            </p:custDataLst>
          </p:nvPr>
        </p:nvPicPr>
        <p:blipFill>
          <a:blip r:embed="rId20" cstate="print">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10148245" y="5868379"/>
            <a:ext cx="976595" cy="539999"/>
          </a:xfrm>
          <a:prstGeom prst="rect">
            <a:avLst/>
          </a:prstGeom>
        </p:spPr>
      </p:pic>
      <p:sp>
        <p:nvSpPr>
          <p:cNvPr id="2" name="Textfeld 36">
            <a:extLst>
              <a:ext uri="{FF2B5EF4-FFF2-40B4-BE49-F238E27FC236}">
                <a16:creationId xmlns:a16="http://schemas.microsoft.com/office/drawing/2014/main" id="{2E19D08E-2534-9319-826E-FE628DFCB339}"/>
              </a:ext>
            </a:extLst>
          </p:cNvPr>
          <p:cNvSpPr txBox="1"/>
          <p:nvPr/>
        </p:nvSpPr>
        <p:spPr>
          <a:xfrm>
            <a:off x="8352532" y="4455340"/>
            <a:ext cx="1013557" cy="1200329"/>
          </a:xfrm>
          <a:prstGeom prst="rect">
            <a:avLst/>
          </a:prstGeom>
          <a:ln w="12700">
            <a:miter lim="400000"/>
          </a:ln>
          <a:extLst>
            <a:ext uri="{C572A759-6A51-4108-AA02-DFA0A04FC94B}">
              <ma14:wrappingTextBoxFlag xmlns:ma14="http://schemas.microsoft.com/office/mac/drawingml/2011/main" xmlns="" val="1"/>
            </a:ext>
          </a:extLst>
        </p:spPr>
        <p:txBody>
          <a:bodyPr wrap="square" lIns="72000" tIns="0" rIns="0" bIns="0">
            <a:spAutoFit/>
          </a:bodyPr>
          <a:lstStyle>
            <a:lvl1pPr defTabSz="1829683">
              <a:spcBef>
                <a:spcPts val="1600"/>
              </a:spcBef>
              <a:defRPr sz="20200" b="1">
                <a:solidFill>
                  <a:srgbClr val="5DAEDB"/>
                </a:solidFill>
                <a:latin typeface="Arial"/>
                <a:ea typeface="Arial"/>
                <a:cs typeface="Arial"/>
                <a:sym typeface="Arial"/>
              </a:defRPr>
            </a:lvl1pPr>
          </a:lstStyle>
          <a:p>
            <a:r>
              <a:rPr lang="en-GB" sz="5000">
                <a:solidFill>
                  <a:schemeClr val="accent1"/>
                </a:solidFill>
              </a:rPr>
              <a:t>26</a:t>
            </a:r>
            <a:br>
              <a:rPr lang="en-GB" sz="9000">
                <a:solidFill>
                  <a:schemeClr val="accent1"/>
                </a:solidFill>
              </a:rPr>
            </a:br>
            <a:r>
              <a:rPr lang="en-GB" sz="1400">
                <a:solidFill>
                  <a:srgbClr val="FFFFFF"/>
                </a:solidFill>
              </a:rPr>
              <a:t>Locations worldwide</a:t>
            </a:r>
          </a:p>
        </p:txBody>
      </p:sp>
      <p:sp>
        <p:nvSpPr>
          <p:cNvPr id="12" name="Textfeld 40">
            <a:extLst>
              <a:ext uri="{FF2B5EF4-FFF2-40B4-BE49-F238E27FC236}">
                <a16:creationId xmlns:a16="http://schemas.microsoft.com/office/drawing/2014/main" id="{BD9D4D78-D888-0304-6018-D4CB84C23B7D}"/>
              </a:ext>
            </a:extLst>
          </p:cNvPr>
          <p:cNvSpPr txBox="1"/>
          <p:nvPr/>
        </p:nvSpPr>
        <p:spPr>
          <a:xfrm>
            <a:off x="7019646" y="1302251"/>
            <a:ext cx="2092991" cy="984885"/>
          </a:xfrm>
          <a:prstGeom prst="rect">
            <a:avLst/>
          </a:prstGeom>
          <a:ln w="12700">
            <a:miter lim="400000"/>
          </a:ln>
          <a:extLst>
            <a:ext uri="{C572A759-6A51-4108-AA02-DFA0A04FC94B}">
              <ma14:wrappingTextBoxFlag xmlns:ma14="http://schemas.microsoft.com/office/mac/drawingml/2011/main" xmlns="" val="1"/>
            </a:ext>
          </a:extLst>
        </p:spPr>
        <p:txBody>
          <a:bodyPr wrap="square" lIns="72000" tIns="0" rIns="0" bIns="0" anchor="ctr">
            <a:spAutoFit/>
          </a:bodyPr>
          <a:lstStyle>
            <a:lvl1pPr defTabSz="1829683">
              <a:spcBef>
                <a:spcPts val="1600"/>
              </a:spcBef>
              <a:defRPr sz="20200" b="1">
                <a:solidFill>
                  <a:srgbClr val="5DAEDB"/>
                </a:solidFill>
                <a:latin typeface="Arial"/>
                <a:ea typeface="Arial"/>
                <a:cs typeface="Arial"/>
                <a:sym typeface="Arial"/>
              </a:defRPr>
            </a:lvl1pPr>
          </a:lstStyle>
          <a:p>
            <a:r>
              <a:rPr lang="en-GB" sz="5000" dirty="0">
                <a:solidFill>
                  <a:schemeClr val="accent1"/>
                </a:solidFill>
              </a:rPr>
              <a:t>6,600</a:t>
            </a:r>
            <a:br>
              <a:rPr lang="en-GB" sz="6000" dirty="0">
                <a:solidFill>
                  <a:schemeClr val="accent1"/>
                </a:solidFill>
              </a:rPr>
            </a:br>
            <a:r>
              <a:rPr lang="en-GB" sz="1400" dirty="0">
                <a:solidFill>
                  <a:srgbClr val="FFFFFF"/>
                </a:solidFill>
              </a:rPr>
              <a:t>Employees</a:t>
            </a:r>
          </a:p>
        </p:txBody>
      </p:sp>
      <p:sp>
        <p:nvSpPr>
          <p:cNvPr id="14" name="Textfeld 29">
            <a:extLst>
              <a:ext uri="{FF2B5EF4-FFF2-40B4-BE49-F238E27FC236}">
                <a16:creationId xmlns:a16="http://schemas.microsoft.com/office/drawing/2014/main" id="{48C7F8C8-1C52-FE74-49EF-1368566241C7}"/>
              </a:ext>
            </a:extLst>
          </p:cNvPr>
          <p:cNvSpPr txBox="1"/>
          <p:nvPr/>
        </p:nvSpPr>
        <p:spPr>
          <a:xfrm>
            <a:off x="1700280" y="1295871"/>
            <a:ext cx="1939502" cy="1200329"/>
          </a:xfrm>
          <a:prstGeom prst="rect">
            <a:avLst/>
          </a:prstGeom>
          <a:ln w="12700">
            <a:miter lim="400000"/>
          </a:ln>
          <a:extLst>
            <a:ext uri="{C572A759-6A51-4108-AA02-DFA0A04FC94B}">
              <ma14:wrappingTextBoxFlag xmlns:ma14="http://schemas.microsoft.com/office/mac/drawingml/2011/main" xmlns="" val="1"/>
            </a:ext>
          </a:extLst>
        </p:spPr>
        <p:txBody>
          <a:bodyPr wrap="square" lIns="72000" tIns="0" rIns="0" bIns="0">
            <a:spAutoFit/>
          </a:bodyPr>
          <a:lstStyle>
            <a:lvl1pPr defTabSz="1829683">
              <a:spcBef>
                <a:spcPts val="1600"/>
              </a:spcBef>
              <a:defRPr sz="12600" b="1" spc="-420">
                <a:solidFill>
                  <a:srgbClr val="5DAEDB"/>
                </a:solidFill>
                <a:latin typeface="Arial"/>
                <a:ea typeface="Arial"/>
                <a:cs typeface="Arial"/>
                <a:sym typeface="Arial"/>
              </a:defRPr>
            </a:lvl1pPr>
          </a:lstStyle>
          <a:p>
            <a:r>
              <a:rPr lang="en-GB" sz="1400" spc="0" dirty="0">
                <a:solidFill>
                  <a:schemeClr val="bg1"/>
                </a:solidFill>
              </a:rPr>
              <a:t>Founded</a:t>
            </a:r>
            <a:br>
              <a:rPr lang="en-GB" sz="6000" spc="0" dirty="0">
                <a:solidFill>
                  <a:schemeClr val="accent1"/>
                </a:solidFill>
              </a:rPr>
            </a:br>
            <a:r>
              <a:rPr lang="en-GB" sz="5000" spc="0" dirty="0">
                <a:solidFill>
                  <a:schemeClr val="accent1"/>
                </a:solidFill>
              </a:rPr>
              <a:t>1983</a:t>
            </a:r>
            <a:br>
              <a:rPr lang="en-GB" sz="6000" spc="0" dirty="0">
                <a:solidFill>
                  <a:schemeClr val="accent1"/>
                </a:solidFill>
              </a:rPr>
            </a:br>
            <a:r>
              <a:rPr lang="en-GB" sz="1400" b="0" spc="0" dirty="0">
                <a:solidFill>
                  <a:srgbClr val="52C9FF"/>
                </a:solidFill>
              </a:rPr>
              <a:t>Berlin</a:t>
            </a:r>
          </a:p>
        </p:txBody>
      </p:sp>
      <p:grpSp>
        <p:nvGrpSpPr>
          <p:cNvPr id="15" name="easyIcon">
            <a:extLst>
              <a:ext uri="{FF2B5EF4-FFF2-40B4-BE49-F238E27FC236}">
                <a16:creationId xmlns:a16="http://schemas.microsoft.com/office/drawing/2014/main" id="{DA3A7A5D-4B72-D0BE-EADC-879CE36C2F8D}"/>
              </a:ext>
            </a:extLst>
          </p:cNvPr>
          <p:cNvGrpSpPr>
            <a:grpSpLocks noChangeAspect="1"/>
          </p:cNvGrpSpPr>
          <p:nvPr>
            <p:custDataLst>
              <p:tags r:id="rId2"/>
            </p:custDataLst>
          </p:nvPr>
        </p:nvGrpSpPr>
        <p:grpSpPr>
          <a:xfrm>
            <a:off x="7997255" y="3360743"/>
            <a:ext cx="720000" cy="720000"/>
            <a:chOff x="575668" y="1151855"/>
            <a:chExt cx="720000" cy="720000"/>
          </a:xfrm>
        </p:grpSpPr>
        <p:sp>
          <p:nvSpPr>
            <p:cNvPr id="16" name="backgroundFixed">
              <a:extLst>
                <a:ext uri="{FF2B5EF4-FFF2-40B4-BE49-F238E27FC236}">
                  <a16:creationId xmlns:a16="http://schemas.microsoft.com/office/drawing/2014/main" id="{871F127D-D2A5-DDDC-951D-ADEB7D2989CF}"/>
                </a:ext>
              </a:extLst>
            </p:cNvPr>
            <p:cNvSpPr/>
            <p:nvPr>
              <p:custDataLst>
                <p:tags r:id="rId16"/>
              </p:custDataLst>
            </p:nvPr>
          </p:nvSpPr>
          <p:spPr>
            <a:xfrm>
              <a:off x="575668" y="1151855"/>
              <a:ext cx="720000" cy="720000"/>
            </a:xfrm>
            <a:prstGeom prst="rect">
              <a:avLst/>
            </a:prstGeom>
            <a:solidFill>
              <a:srgbClr val="5500B4"/>
            </a:solidFill>
            <a:ln w="6350" cap="flat" cmpd="sng" algn="ctr">
              <a:solidFill>
                <a:srgbClr val="5500B4"/>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108000" numCol="1" spcCol="0" rtlCol="0" fromWordArt="0" anchor="t" anchorCtr="0" forceAA="0" compatLnSpc="1">
              <a:prstTxWarp prst="textNoShape">
                <a:avLst/>
              </a:prstTxWarp>
              <a:noAutofit/>
            </a:bodyPr>
            <a:lstStyle/>
            <a:p>
              <a:pPr algn="l"/>
              <a:endParaRPr lang="en-US" sz="1400" b="1">
                <a:solidFill>
                  <a:schemeClr val="bg1"/>
                </a:solidFill>
              </a:endParaRPr>
            </a:p>
          </p:txBody>
        </p:sp>
        <p:pic>
          <p:nvPicPr>
            <p:cNvPr id="17" name="Vector">
              <a:extLst>
                <a:ext uri="{FF2B5EF4-FFF2-40B4-BE49-F238E27FC236}">
                  <a16:creationId xmlns:a16="http://schemas.microsoft.com/office/drawing/2014/main" id="{F2D7D2A4-A68F-48F7-8156-60F9F65EE801}"/>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bwMode="gray">
            <a:xfrm>
              <a:off x="575668" y="1151855"/>
              <a:ext cx="720000" cy="720000"/>
            </a:xfrm>
            <a:prstGeom prst="rect">
              <a:avLst/>
            </a:prstGeom>
          </p:spPr>
        </p:pic>
      </p:grpSp>
      <p:grpSp>
        <p:nvGrpSpPr>
          <p:cNvPr id="18" name="easyIcon">
            <a:extLst>
              <a:ext uri="{FF2B5EF4-FFF2-40B4-BE49-F238E27FC236}">
                <a16:creationId xmlns:a16="http://schemas.microsoft.com/office/drawing/2014/main" id="{FC519586-432A-8E11-9624-E3F2144EF349}"/>
              </a:ext>
            </a:extLst>
          </p:cNvPr>
          <p:cNvGrpSpPr>
            <a:grpSpLocks noChangeAspect="1"/>
          </p:cNvGrpSpPr>
          <p:nvPr>
            <p:custDataLst>
              <p:tags r:id="rId3"/>
            </p:custDataLst>
          </p:nvPr>
        </p:nvGrpSpPr>
        <p:grpSpPr>
          <a:xfrm>
            <a:off x="1306253" y="3361897"/>
            <a:ext cx="720000" cy="720000"/>
            <a:chOff x="10224820" y="2158867"/>
            <a:chExt cx="721100" cy="721100"/>
          </a:xfrm>
        </p:grpSpPr>
        <p:sp>
          <p:nvSpPr>
            <p:cNvPr id="19" name="backgroundFixed">
              <a:extLst>
                <a:ext uri="{FF2B5EF4-FFF2-40B4-BE49-F238E27FC236}">
                  <a16:creationId xmlns:a16="http://schemas.microsoft.com/office/drawing/2014/main" id="{511D3E72-7B00-D83B-5495-FF7928D2F8DE}"/>
                </a:ext>
              </a:extLst>
            </p:cNvPr>
            <p:cNvSpPr/>
            <p:nvPr>
              <p:custDataLst>
                <p:tags r:id="rId15"/>
              </p:custDataLst>
            </p:nvPr>
          </p:nvSpPr>
          <p:spPr>
            <a:xfrm>
              <a:off x="10224820" y="2158867"/>
              <a:ext cx="721100" cy="721100"/>
            </a:xfrm>
            <a:prstGeom prst="rect">
              <a:avLst/>
            </a:prstGeom>
            <a:solidFill>
              <a:srgbClr val="5500B4"/>
            </a:solidFill>
            <a:ln w="6350" cap="flat" cmpd="sng" algn="ctr">
              <a:solidFill>
                <a:srgbClr val="5500B4"/>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108000" numCol="1" spcCol="0" rtlCol="0" fromWordArt="0" anchor="t" anchorCtr="0" forceAA="0" compatLnSpc="1">
              <a:prstTxWarp prst="textNoShape">
                <a:avLst/>
              </a:prstTxWarp>
              <a:noAutofit/>
            </a:bodyPr>
            <a:lstStyle/>
            <a:p>
              <a:pPr algn="l"/>
              <a:endParaRPr lang="en-US" sz="1400" b="1">
                <a:solidFill>
                  <a:schemeClr val="bg1"/>
                </a:solidFill>
              </a:endParaRPr>
            </a:p>
          </p:txBody>
        </p:sp>
        <p:pic>
          <p:nvPicPr>
            <p:cNvPr id="20" name="Vector">
              <a:extLst>
                <a:ext uri="{FF2B5EF4-FFF2-40B4-BE49-F238E27FC236}">
                  <a16:creationId xmlns:a16="http://schemas.microsoft.com/office/drawing/2014/main" id="{4F70B156-B6EF-7307-FC59-1DD2B4158197}"/>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bwMode="gray">
            <a:xfrm>
              <a:off x="10224820" y="2158867"/>
              <a:ext cx="721100" cy="721100"/>
            </a:xfrm>
            <a:prstGeom prst="rect">
              <a:avLst/>
            </a:prstGeom>
          </p:spPr>
        </p:pic>
      </p:grpSp>
      <p:grpSp>
        <p:nvGrpSpPr>
          <p:cNvPr id="24" name="easyIcon">
            <a:extLst>
              <a:ext uri="{FF2B5EF4-FFF2-40B4-BE49-F238E27FC236}">
                <a16:creationId xmlns:a16="http://schemas.microsoft.com/office/drawing/2014/main" id="{7C92BCAF-4C1D-54B7-2551-089F03C4FA40}"/>
              </a:ext>
            </a:extLst>
          </p:cNvPr>
          <p:cNvGrpSpPr>
            <a:grpSpLocks noChangeAspect="1"/>
          </p:cNvGrpSpPr>
          <p:nvPr>
            <p:custDataLst>
              <p:tags r:id="rId4"/>
            </p:custDataLst>
          </p:nvPr>
        </p:nvGrpSpPr>
        <p:grpSpPr>
          <a:xfrm>
            <a:off x="6665107" y="3366740"/>
            <a:ext cx="720000" cy="720000"/>
            <a:chOff x="9079430" y="3240449"/>
            <a:chExt cx="720001" cy="720000"/>
          </a:xfrm>
        </p:grpSpPr>
        <p:sp>
          <p:nvSpPr>
            <p:cNvPr id="25" name="backgroundFixed">
              <a:extLst>
                <a:ext uri="{FF2B5EF4-FFF2-40B4-BE49-F238E27FC236}">
                  <a16:creationId xmlns:a16="http://schemas.microsoft.com/office/drawing/2014/main" id="{E333BCD4-074F-5EA7-7293-687C09BC96E8}"/>
                </a:ext>
              </a:extLst>
            </p:cNvPr>
            <p:cNvSpPr/>
            <p:nvPr>
              <p:custDataLst>
                <p:tags r:id="rId14"/>
              </p:custDataLst>
            </p:nvPr>
          </p:nvSpPr>
          <p:spPr>
            <a:xfrm>
              <a:off x="9079430" y="3240449"/>
              <a:ext cx="720001" cy="720000"/>
            </a:xfrm>
            <a:prstGeom prst="rect">
              <a:avLst/>
            </a:prstGeom>
            <a:solidFill>
              <a:srgbClr val="5500B4"/>
            </a:solidFill>
            <a:ln w="6350" cap="flat" cmpd="sng" algn="ctr">
              <a:solidFill>
                <a:srgbClr val="5500B4"/>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108000" numCol="1" spcCol="0" rtlCol="0" fromWordArt="0" anchor="t" anchorCtr="0" forceAA="0" compatLnSpc="1">
              <a:prstTxWarp prst="textNoShape">
                <a:avLst/>
              </a:prstTxWarp>
              <a:noAutofit/>
            </a:bodyPr>
            <a:lstStyle/>
            <a:p>
              <a:pPr algn="l"/>
              <a:endParaRPr lang="en-US" sz="1400" b="1">
                <a:solidFill>
                  <a:schemeClr val="bg1"/>
                </a:solidFill>
              </a:endParaRPr>
            </a:p>
          </p:txBody>
        </p:sp>
        <p:pic>
          <p:nvPicPr>
            <p:cNvPr id="26" name="Vector">
              <a:extLst>
                <a:ext uri="{FF2B5EF4-FFF2-40B4-BE49-F238E27FC236}">
                  <a16:creationId xmlns:a16="http://schemas.microsoft.com/office/drawing/2014/main" id="{7DCF527D-306A-A04F-6578-855018835952}"/>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bwMode="gray">
            <a:xfrm>
              <a:off x="9079430" y="3240449"/>
              <a:ext cx="720000" cy="720000"/>
            </a:xfrm>
            <a:prstGeom prst="rect">
              <a:avLst/>
            </a:prstGeom>
          </p:spPr>
        </p:pic>
      </p:grpSp>
      <p:sp>
        <p:nvSpPr>
          <p:cNvPr id="28" name="backgroundFixed">
            <a:extLst>
              <a:ext uri="{FF2B5EF4-FFF2-40B4-BE49-F238E27FC236}">
                <a16:creationId xmlns:a16="http://schemas.microsoft.com/office/drawing/2014/main" id="{9FB36B85-D0B4-AFDB-0CEB-D23863C4BDF4}"/>
              </a:ext>
            </a:extLst>
          </p:cNvPr>
          <p:cNvSpPr/>
          <p:nvPr>
            <p:custDataLst>
              <p:tags r:id="rId5"/>
            </p:custDataLst>
          </p:nvPr>
        </p:nvSpPr>
        <p:spPr>
          <a:xfrm>
            <a:off x="2632659" y="3348099"/>
            <a:ext cx="720000" cy="720000"/>
          </a:xfrm>
          <a:prstGeom prst="rect">
            <a:avLst/>
          </a:prstGeom>
          <a:solidFill>
            <a:srgbClr val="5500B4"/>
          </a:solidFill>
          <a:ln w="6350" cap="flat" cmpd="sng" algn="ctr">
            <a:solidFill>
              <a:srgbClr val="5500B4"/>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108000" numCol="1" spcCol="0" rtlCol="0" fromWordArt="0" anchor="t" anchorCtr="0" forceAA="0" compatLnSpc="1">
            <a:prstTxWarp prst="textNoShape">
              <a:avLst/>
            </a:prstTxWarp>
            <a:noAutofit/>
          </a:bodyPr>
          <a:lstStyle/>
          <a:p>
            <a:pPr algn="l"/>
            <a:endParaRPr lang="en-US" sz="1400" b="1" dirty="0">
              <a:solidFill>
                <a:schemeClr val="bg1"/>
              </a:solidFill>
            </a:endParaRPr>
          </a:p>
        </p:txBody>
      </p:sp>
      <p:sp>
        <p:nvSpPr>
          <p:cNvPr id="31" name="backgroundFixed">
            <a:extLst>
              <a:ext uri="{FF2B5EF4-FFF2-40B4-BE49-F238E27FC236}">
                <a16:creationId xmlns:a16="http://schemas.microsoft.com/office/drawing/2014/main" id="{0D705486-3AA6-3B2A-466F-1AC62F64FE70}"/>
              </a:ext>
            </a:extLst>
          </p:cNvPr>
          <p:cNvSpPr/>
          <p:nvPr>
            <p:custDataLst>
              <p:tags r:id="rId6"/>
            </p:custDataLst>
          </p:nvPr>
        </p:nvSpPr>
        <p:spPr>
          <a:xfrm>
            <a:off x="3964807" y="3362747"/>
            <a:ext cx="720000" cy="720000"/>
          </a:xfrm>
          <a:prstGeom prst="rect">
            <a:avLst/>
          </a:prstGeom>
          <a:solidFill>
            <a:srgbClr val="5500B4"/>
          </a:solidFill>
          <a:ln w="6350" cap="flat" cmpd="sng" algn="ctr">
            <a:solidFill>
              <a:srgbClr val="5500B4"/>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108000" numCol="1" spcCol="0" rtlCol="0" fromWordArt="0" anchor="t" anchorCtr="0" forceAA="0" compatLnSpc="1">
            <a:prstTxWarp prst="textNoShape">
              <a:avLst/>
            </a:prstTxWarp>
            <a:noAutofit/>
          </a:bodyPr>
          <a:lstStyle/>
          <a:p>
            <a:pPr algn="l"/>
            <a:endParaRPr lang="en-US" sz="1400" b="1">
              <a:solidFill>
                <a:schemeClr val="bg1"/>
              </a:solidFill>
            </a:endParaRPr>
          </a:p>
        </p:txBody>
      </p:sp>
      <p:cxnSp>
        <p:nvCxnSpPr>
          <p:cNvPr id="33" name="Gerader Verbinder 11">
            <a:extLst>
              <a:ext uri="{FF2B5EF4-FFF2-40B4-BE49-F238E27FC236}">
                <a16:creationId xmlns:a16="http://schemas.microsoft.com/office/drawing/2014/main" id="{6411BBA3-7C37-9BE2-E654-E8EA4BFC36C9}"/>
              </a:ext>
            </a:extLst>
          </p:cNvPr>
          <p:cNvCxnSpPr>
            <a:cxnSpLocks/>
          </p:cNvCxnSpPr>
          <p:nvPr/>
        </p:nvCxnSpPr>
        <p:spPr>
          <a:xfrm>
            <a:off x="1679616" y="1295400"/>
            <a:ext cx="0" cy="1944687"/>
          </a:xfrm>
          <a:prstGeom prst="line">
            <a:avLst/>
          </a:prstGeom>
          <a:ln>
            <a:solidFill>
              <a:srgbClr val="52C9FF"/>
            </a:solidFill>
          </a:ln>
        </p:spPr>
        <p:style>
          <a:lnRef idx="1">
            <a:schemeClr val="accent1"/>
          </a:lnRef>
          <a:fillRef idx="0">
            <a:schemeClr val="accent1"/>
          </a:fillRef>
          <a:effectRef idx="0">
            <a:schemeClr val="accent1"/>
          </a:effectRef>
          <a:fontRef idx="minor">
            <a:schemeClr val="tx1"/>
          </a:fontRef>
        </p:style>
      </p:cxnSp>
      <p:sp>
        <p:nvSpPr>
          <p:cNvPr id="34" name="Textfeld 29">
            <a:extLst>
              <a:ext uri="{FF2B5EF4-FFF2-40B4-BE49-F238E27FC236}">
                <a16:creationId xmlns:a16="http://schemas.microsoft.com/office/drawing/2014/main" id="{9E92D19F-B8EE-26A2-5661-B629BAEE8A56}"/>
              </a:ext>
            </a:extLst>
          </p:cNvPr>
          <p:cNvSpPr txBox="1"/>
          <p:nvPr/>
        </p:nvSpPr>
        <p:spPr>
          <a:xfrm>
            <a:off x="4369393" y="1395703"/>
            <a:ext cx="2470970" cy="1074077"/>
          </a:xfrm>
          <a:prstGeom prst="rect">
            <a:avLst/>
          </a:prstGeom>
          <a:ln w="12700">
            <a:miter lim="400000"/>
          </a:ln>
          <a:extLst>
            <a:ext uri="{C572A759-6A51-4108-AA02-DFA0A04FC94B}">
              <ma14:wrappingTextBoxFlag xmlns:ma14="http://schemas.microsoft.com/office/mac/drawingml/2011/main" xmlns="" val="1"/>
            </a:ext>
          </a:extLst>
        </p:spPr>
        <p:txBody>
          <a:bodyPr wrap="square" lIns="72000" tIns="0" rIns="0" bIns="0">
            <a:spAutoFit/>
          </a:bodyPr>
          <a:lstStyle>
            <a:lvl1pPr defTabSz="1829683">
              <a:spcBef>
                <a:spcPts val="1600"/>
              </a:spcBef>
              <a:defRPr sz="12600" b="1" spc="-420">
                <a:solidFill>
                  <a:srgbClr val="5DAEDB"/>
                </a:solidFill>
                <a:latin typeface="Arial"/>
                <a:ea typeface="Arial"/>
                <a:cs typeface="Arial"/>
                <a:sym typeface="Arial"/>
              </a:defRPr>
            </a:lvl1pPr>
          </a:lstStyle>
          <a:p>
            <a:pPr>
              <a:lnSpc>
                <a:spcPct val="120000"/>
              </a:lnSpc>
            </a:pPr>
            <a:r>
              <a:rPr lang="en-GB" sz="2000" spc="0" dirty="0">
                <a:solidFill>
                  <a:srgbClr val="FFFFFF"/>
                </a:solidFill>
              </a:rPr>
              <a:t>Vehicle Solutions &amp; Autonomous Driving </a:t>
            </a:r>
          </a:p>
        </p:txBody>
      </p:sp>
      <p:sp>
        <p:nvSpPr>
          <p:cNvPr id="35" name="Textfeld 29">
            <a:extLst>
              <a:ext uri="{FF2B5EF4-FFF2-40B4-BE49-F238E27FC236}">
                <a16:creationId xmlns:a16="http://schemas.microsoft.com/office/drawing/2014/main" id="{0275BC4F-484E-B945-A8CF-5225AC1D6787}"/>
              </a:ext>
            </a:extLst>
          </p:cNvPr>
          <p:cNvSpPr txBox="1"/>
          <p:nvPr/>
        </p:nvSpPr>
        <p:spPr>
          <a:xfrm>
            <a:off x="3028343" y="4398441"/>
            <a:ext cx="1679974" cy="1074077"/>
          </a:xfrm>
          <a:prstGeom prst="rect">
            <a:avLst/>
          </a:prstGeom>
          <a:ln w="12700">
            <a:miter lim="400000"/>
          </a:ln>
          <a:extLst>
            <a:ext uri="{C572A759-6A51-4108-AA02-DFA0A04FC94B}">
              <ma14:wrappingTextBoxFlag xmlns:ma14="http://schemas.microsoft.com/office/mac/drawingml/2011/main" xmlns="" val="1"/>
            </a:ext>
          </a:extLst>
        </p:spPr>
        <p:txBody>
          <a:bodyPr wrap="square" lIns="72000" tIns="0" rIns="0" bIns="0">
            <a:spAutoFit/>
          </a:bodyPr>
          <a:lstStyle>
            <a:lvl1pPr defTabSz="1829683">
              <a:spcBef>
                <a:spcPts val="1600"/>
              </a:spcBef>
              <a:defRPr sz="12600" b="1" spc="-420">
                <a:solidFill>
                  <a:srgbClr val="5DAEDB"/>
                </a:solidFill>
                <a:latin typeface="Arial"/>
                <a:ea typeface="Arial"/>
                <a:cs typeface="Arial"/>
                <a:sym typeface="Arial"/>
              </a:defRPr>
            </a:lvl1pPr>
          </a:lstStyle>
          <a:p>
            <a:pPr>
              <a:lnSpc>
                <a:spcPct val="120000"/>
              </a:lnSpc>
            </a:pPr>
            <a:r>
              <a:rPr lang="en-GB" sz="2000" spc="0" dirty="0">
                <a:solidFill>
                  <a:srgbClr val="FFFFFF"/>
                </a:solidFill>
              </a:rPr>
              <a:t>Software Systems &amp; Connectivity</a:t>
            </a:r>
          </a:p>
        </p:txBody>
      </p:sp>
      <p:cxnSp>
        <p:nvCxnSpPr>
          <p:cNvPr id="36" name="Gerader Verbinder 16">
            <a:extLst>
              <a:ext uri="{FF2B5EF4-FFF2-40B4-BE49-F238E27FC236}">
                <a16:creationId xmlns:a16="http://schemas.microsoft.com/office/drawing/2014/main" id="{0323B0AE-8F25-0ACE-D192-4A3E9E3D8C60}"/>
              </a:ext>
            </a:extLst>
          </p:cNvPr>
          <p:cNvCxnSpPr/>
          <p:nvPr/>
        </p:nvCxnSpPr>
        <p:spPr>
          <a:xfrm>
            <a:off x="3028344" y="4171485"/>
            <a:ext cx="0" cy="1458664"/>
          </a:xfrm>
          <a:prstGeom prst="line">
            <a:avLst/>
          </a:prstGeom>
          <a:ln>
            <a:solidFill>
              <a:srgbClr val="52C9FF"/>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E5E0FE72-74A0-9E9A-3665-E85222C24BBC}"/>
              </a:ext>
            </a:extLst>
          </p:cNvPr>
          <p:cNvCxnSpPr>
            <a:cxnSpLocks/>
          </p:cNvCxnSpPr>
          <p:nvPr/>
        </p:nvCxnSpPr>
        <p:spPr>
          <a:xfrm>
            <a:off x="8339284" y="4153985"/>
            <a:ext cx="0" cy="1458664"/>
          </a:xfrm>
          <a:prstGeom prst="line">
            <a:avLst/>
          </a:prstGeom>
          <a:ln>
            <a:solidFill>
              <a:srgbClr val="52C9FF"/>
            </a:solidFill>
          </a:ln>
        </p:spPr>
        <p:style>
          <a:lnRef idx="1">
            <a:schemeClr val="accent1"/>
          </a:lnRef>
          <a:fillRef idx="0">
            <a:schemeClr val="accent1"/>
          </a:fillRef>
          <a:effectRef idx="0">
            <a:schemeClr val="accent1"/>
          </a:effectRef>
          <a:fontRef idx="minor">
            <a:schemeClr val="tx1"/>
          </a:fontRef>
        </p:style>
      </p:cxnSp>
      <p:cxnSp>
        <p:nvCxnSpPr>
          <p:cNvPr id="38" name="Gerader Verbinder 5">
            <a:extLst>
              <a:ext uri="{FF2B5EF4-FFF2-40B4-BE49-F238E27FC236}">
                <a16:creationId xmlns:a16="http://schemas.microsoft.com/office/drawing/2014/main" id="{478A709C-153E-112D-4C25-D9184B1B5DD8}"/>
              </a:ext>
            </a:extLst>
          </p:cNvPr>
          <p:cNvCxnSpPr/>
          <p:nvPr/>
        </p:nvCxnSpPr>
        <p:spPr>
          <a:xfrm>
            <a:off x="5653799" y="4171485"/>
            <a:ext cx="0" cy="1458664"/>
          </a:xfrm>
          <a:prstGeom prst="line">
            <a:avLst/>
          </a:prstGeom>
          <a:ln>
            <a:solidFill>
              <a:srgbClr val="52C9FF"/>
            </a:solidFill>
          </a:ln>
        </p:spPr>
        <p:style>
          <a:lnRef idx="1">
            <a:schemeClr val="accent1"/>
          </a:lnRef>
          <a:fillRef idx="0">
            <a:schemeClr val="accent1"/>
          </a:fillRef>
          <a:effectRef idx="0">
            <a:schemeClr val="accent1"/>
          </a:effectRef>
          <a:fontRef idx="minor">
            <a:schemeClr val="tx1"/>
          </a:fontRef>
        </p:style>
      </p:cxnSp>
      <p:cxnSp>
        <p:nvCxnSpPr>
          <p:cNvPr id="39" name="Gerader Verbinder 6">
            <a:extLst>
              <a:ext uri="{FF2B5EF4-FFF2-40B4-BE49-F238E27FC236}">
                <a16:creationId xmlns:a16="http://schemas.microsoft.com/office/drawing/2014/main" id="{FBE1D67E-4DCD-9C90-C59A-0FD48E81CD21}"/>
              </a:ext>
            </a:extLst>
          </p:cNvPr>
          <p:cNvCxnSpPr>
            <a:cxnSpLocks/>
          </p:cNvCxnSpPr>
          <p:nvPr/>
        </p:nvCxnSpPr>
        <p:spPr>
          <a:xfrm>
            <a:off x="7019646" y="1295400"/>
            <a:ext cx="0" cy="1944687"/>
          </a:xfrm>
          <a:prstGeom prst="line">
            <a:avLst/>
          </a:prstGeom>
          <a:ln>
            <a:solidFill>
              <a:srgbClr val="52C9FF"/>
            </a:solidFill>
          </a:ln>
        </p:spPr>
        <p:style>
          <a:lnRef idx="1">
            <a:schemeClr val="accent1"/>
          </a:lnRef>
          <a:fillRef idx="0">
            <a:schemeClr val="accent1"/>
          </a:fillRef>
          <a:effectRef idx="0">
            <a:schemeClr val="accent1"/>
          </a:effectRef>
          <a:fontRef idx="minor">
            <a:schemeClr val="tx1"/>
          </a:fontRef>
        </p:style>
      </p:cxnSp>
      <p:cxnSp>
        <p:nvCxnSpPr>
          <p:cNvPr id="42" name="Gerader Verbinder 6">
            <a:extLst>
              <a:ext uri="{FF2B5EF4-FFF2-40B4-BE49-F238E27FC236}">
                <a16:creationId xmlns:a16="http://schemas.microsoft.com/office/drawing/2014/main" id="{F7472BEC-4E60-2890-6F38-35738E151C62}"/>
              </a:ext>
            </a:extLst>
          </p:cNvPr>
          <p:cNvCxnSpPr>
            <a:cxnSpLocks/>
          </p:cNvCxnSpPr>
          <p:nvPr/>
        </p:nvCxnSpPr>
        <p:spPr>
          <a:xfrm>
            <a:off x="4343346" y="1295400"/>
            <a:ext cx="0" cy="1944687"/>
          </a:xfrm>
          <a:prstGeom prst="line">
            <a:avLst/>
          </a:prstGeom>
          <a:ln>
            <a:solidFill>
              <a:srgbClr val="52C9FF"/>
            </a:solidFill>
          </a:ln>
        </p:spPr>
        <p:style>
          <a:lnRef idx="1">
            <a:schemeClr val="accent1"/>
          </a:lnRef>
          <a:fillRef idx="0">
            <a:schemeClr val="accent1"/>
          </a:fillRef>
          <a:effectRef idx="0">
            <a:schemeClr val="accent1"/>
          </a:effectRef>
          <a:fontRef idx="minor">
            <a:schemeClr val="tx1"/>
          </a:fontRef>
        </p:style>
      </p:cxnSp>
      <p:grpSp>
        <p:nvGrpSpPr>
          <p:cNvPr id="60" name="easyIcon">
            <a:extLst>
              <a:ext uri="{FF2B5EF4-FFF2-40B4-BE49-F238E27FC236}">
                <a16:creationId xmlns:a16="http://schemas.microsoft.com/office/drawing/2014/main" id="{86EC63FD-0729-0A91-0569-658186DDA9E6}"/>
              </a:ext>
            </a:extLst>
          </p:cNvPr>
          <p:cNvGrpSpPr>
            <a:grpSpLocks noChangeAspect="1"/>
          </p:cNvGrpSpPr>
          <p:nvPr>
            <p:custDataLst>
              <p:tags r:id="rId7"/>
            </p:custDataLst>
          </p:nvPr>
        </p:nvGrpSpPr>
        <p:grpSpPr>
          <a:xfrm>
            <a:off x="2546481" y="3293385"/>
            <a:ext cx="919747" cy="919747"/>
            <a:chOff x="5925840" y="3240449"/>
            <a:chExt cx="720000" cy="720000"/>
          </a:xfrm>
        </p:grpSpPr>
        <p:sp>
          <p:nvSpPr>
            <p:cNvPr id="61" name="backgroundFixed">
              <a:extLst>
                <a:ext uri="{FF2B5EF4-FFF2-40B4-BE49-F238E27FC236}">
                  <a16:creationId xmlns:a16="http://schemas.microsoft.com/office/drawing/2014/main" id="{D220D119-DEBC-F39A-90B3-422B6A6980A9}"/>
                </a:ext>
              </a:extLst>
            </p:cNvPr>
            <p:cNvSpPr/>
            <p:nvPr>
              <p:custDataLst>
                <p:tags r:id="rId13"/>
              </p:custDataLst>
            </p:nvPr>
          </p:nvSpPr>
          <p:spPr>
            <a:xfrm>
              <a:off x="5925840" y="3240449"/>
              <a:ext cx="720000" cy="720000"/>
            </a:xfrm>
            <a:prstGeom prst="rect">
              <a:avLst/>
            </a:prstGeom>
            <a:noFill/>
            <a:ln w="6350" cap="flat" cmpd="sng" algn="ctr">
              <a:noFill/>
              <a:prstDash val="solid"/>
              <a:round/>
              <a:headEnd type="none" w="med" len="med"/>
              <a:tailEnd type="none" w="med" len="med"/>
            </a:ln>
            <a:effectLst/>
            <a:extLst>
              <a:ext uri="{909E8E84-426E-40DD-AFC4-6F175D3DCCD1}">
                <a14:hiddenFill xmlns:a14="http://schemas.microsoft.com/office/drawing/2010/main">
                  <a:solidFill>
                    <a:srgbClr val="52C9FF"/>
                  </a:solidFill>
                </a14:hiddenFill>
              </a:ext>
              <a:ext uri="{91240B29-F687-4F45-9708-019B960494DF}">
                <a14:hiddenLine xmlns:a14="http://schemas.microsoft.com/office/drawing/2010/main" w="6350" cap="flat" cmpd="sng" algn="ctr">
                  <a:solidFill>
                    <a:srgbClr val="52C9F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108000" numCol="1" spcCol="0" rtlCol="0" fromWordArt="0" anchor="t" anchorCtr="0" forceAA="0" compatLnSpc="1">
              <a:prstTxWarp prst="textNoShape">
                <a:avLst/>
              </a:prstTxWarp>
              <a:noAutofit/>
            </a:bodyPr>
            <a:lstStyle/>
            <a:p>
              <a:pPr algn="l"/>
              <a:endParaRPr lang="en-US" sz="1400" b="1">
                <a:solidFill>
                  <a:schemeClr val="bg1"/>
                </a:solidFill>
              </a:endParaRPr>
            </a:p>
          </p:txBody>
        </p:sp>
        <p:pic>
          <p:nvPicPr>
            <p:cNvPr id="62" name="Vector">
              <a:extLst>
                <a:ext uri="{FF2B5EF4-FFF2-40B4-BE49-F238E27FC236}">
                  <a16:creationId xmlns:a16="http://schemas.microsoft.com/office/drawing/2014/main" id="{48458DAE-7531-3015-83E3-CD6849635D53}"/>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bwMode="gray">
            <a:xfrm>
              <a:off x="5925840" y="3240449"/>
              <a:ext cx="720000" cy="720000"/>
            </a:xfrm>
            <a:prstGeom prst="rect">
              <a:avLst/>
            </a:prstGeom>
          </p:spPr>
        </p:pic>
      </p:grpSp>
      <p:grpSp>
        <p:nvGrpSpPr>
          <p:cNvPr id="63" name="easyIcon">
            <a:extLst>
              <a:ext uri="{FF2B5EF4-FFF2-40B4-BE49-F238E27FC236}">
                <a16:creationId xmlns:a16="http://schemas.microsoft.com/office/drawing/2014/main" id="{260F8D15-776A-541B-D31C-748368D288C3}"/>
              </a:ext>
            </a:extLst>
          </p:cNvPr>
          <p:cNvGrpSpPr>
            <a:grpSpLocks noChangeAspect="1"/>
          </p:cNvGrpSpPr>
          <p:nvPr>
            <p:custDataLst>
              <p:tags r:id="rId8"/>
            </p:custDataLst>
          </p:nvPr>
        </p:nvGrpSpPr>
        <p:grpSpPr>
          <a:xfrm>
            <a:off x="4002274" y="3380917"/>
            <a:ext cx="677850" cy="677850"/>
            <a:chOff x="3791869" y="2158867"/>
            <a:chExt cx="721100" cy="721100"/>
          </a:xfrm>
        </p:grpSpPr>
        <p:sp>
          <p:nvSpPr>
            <p:cNvPr id="64" name="backgroundFixed">
              <a:extLst>
                <a:ext uri="{FF2B5EF4-FFF2-40B4-BE49-F238E27FC236}">
                  <a16:creationId xmlns:a16="http://schemas.microsoft.com/office/drawing/2014/main" id="{DC758263-399B-0F43-F265-DC55846C2B93}"/>
                </a:ext>
              </a:extLst>
            </p:cNvPr>
            <p:cNvSpPr/>
            <p:nvPr>
              <p:custDataLst>
                <p:tags r:id="rId12"/>
              </p:custDataLst>
            </p:nvPr>
          </p:nvSpPr>
          <p:spPr>
            <a:xfrm>
              <a:off x="3791869" y="2158867"/>
              <a:ext cx="721100" cy="721100"/>
            </a:xfrm>
            <a:prstGeom prst="rect">
              <a:avLst/>
            </a:prstGeom>
            <a:noFill/>
            <a:ln w="6350" cap="flat" cmpd="sng" algn="ctr">
              <a:noFill/>
              <a:prstDash val="solid"/>
              <a:round/>
              <a:headEnd type="none" w="med" len="med"/>
              <a:tailEnd type="none" w="med" len="med"/>
            </a:ln>
            <a:effectLst/>
            <a:extLst>
              <a:ext uri="{909E8E84-426E-40DD-AFC4-6F175D3DCCD1}">
                <a14:hiddenFill xmlns:a14="http://schemas.microsoft.com/office/drawing/2010/main">
                  <a:solidFill>
                    <a:srgbClr val="52C9FF"/>
                  </a:solidFill>
                </a14:hiddenFill>
              </a:ext>
              <a:ext uri="{91240B29-F687-4F45-9708-019B960494DF}">
                <a14:hiddenLine xmlns:a14="http://schemas.microsoft.com/office/drawing/2010/main" w="6350" cap="flat" cmpd="sng" algn="ctr">
                  <a:solidFill>
                    <a:srgbClr val="52C9F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108000" numCol="1" spcCol="0" rtlCol="0" fromWordArt="0" anchor="t" anchorCtr="0" forceAA="0" compatLnSpc="1">
              <a:prstTxWarp prst="textNoShape">
                <a:avLst/>
              </a:prstTxWarp>
              <a:noAutofit/>
            </a:bodyPr>
            <a:lstStyle/>
            <a:p>
              <a:pPr algn="l"/>
              <a:endParaRPr lang="en-US" sz="1400" b="1">
                <a:solidFill>
                  <a:schemeClr val="bg1"/>
                </a:solidFill>
              </a:endParaRPr>
            </a:p>
          </p:txBody>
        </p:sp>
        <p:pic>
          <p:nvPicPr>
            <p:cNvPr id="65" name="Vector">
              <a:extLst>
                <a:ext uri="{FF2B5EF4-FFF2-40B4-BE49-F238E27FC236}">
                  <a16:creationId xmlns:a16="http://schemas.microsoft.com/office/drawing/2014/main" id="{B821C6A4-0704-B82C-1B43-53358D7475EE}"/>
                </a:ext>
              </a:extLst>
            </p:cNvPr>
            <p:cNvPicPr>
              <a:picLocks noChangeAspect="1"/>
            </p:cNvPicPr>
            <p:nvPr/>
          </p:nvPicPr>
          <p:blipFill>
            <a:blip r:embed="rId30">
              <a:extLst>
                <a:ext uri="{96DAC541-7B7A-43D3-8B79-37D633B846F1}">
                  <asvg:svgBlip xmlns:asvg="http://schemas.microsoft.com/office/drawing/2016/SVG/main" r:embed="rId31"/>
                </a:ext>
              </a:extLst>
            </a:blip>
            <a:stretch>
              <a:fillRect/>
            </a:stretch>
          </p:blipFill>
          <p:spPr bwMode="gray">
            <a:xfrm>
              <a:off x="3791869" y="2158867"/>
              <a:ext cx="721100" cy="721100"/>
            </a:xfrm>
            <a:prstGeom prst="rect">
              <a:avLst/>
            </a:prstGeom>
          </p:spPr>
        </p:pic>
      </p:grpSp>
      <p:sp>
        <p:nvSpPr>
          <p:cNvPr id="66" name="Textfeld 29">
            <a:extLst>
              <a:ext uri="{FF2B5EF4-FFF2-40B4-BE49-F238E27FC236}">
                <a16:creationId xmlns:a16="http://schemas.microsoft.com/office/drawing/2014/main" id="{3B7C272C-1A54-1548-9017-9098AFFF6080}"/>
              </a:ext>
            </a:extLst>
          </p:cNvPr>
          <p:cNvSpPr txBox="1"/>
          <p:nvPr/>
        </p:nvSpPr>
        <p:spPr>
          <a:xfrm>
            <a:off x="5761038" y="4398441"/>
            <a:ext cx="1679974" cy="704745"/>
          </a:xfrm>
          <a:prstGeom prst="rect">
            <a:avLst/>
          </a:prstGeom>
          <a:ln w="12700">
            <a:miter lim="400000"/>
          </a:ln>
          <a:extLst>
            <a:ext uri="{C572A759-6A51-4108-AA02-DFA0A04FC94B}">
              <ma14:wrappingTextBoxFlag xmlns:ma14="http://schemas.microsoft.com/office/mac/drawingml/2011/main" xmlns="" val="1"/>
            </a:ext>
          </a:extLst>
        </p:spPr>
        <p:txBody>
          <a:bodyPr wrap="square" lIns="72000" tIns="0" rIns="0" bIns="0">
            <a:spAutoFit/>
          </a:bodyPr>
          <a:lstStyle>
            <a:lvl1pPr defTabSz="1829683">
              <a:spcBef>
                <a:spcPts val="1600"/>
              </a:spcBef>
              <a:defRPr sz="12600" b="1" spc="-420">
                <a:solidFill>
                  <a:srgbClr val="5DAEDB"/>
                </a:solidFill>
                <a:latin typeface="Arial"/>
                <a:ea typeface="Arial"/>
                <a:cs typeface="Arial"/>
                <a:sym typeface="Arial"/>
              </a:defRPr>
            </a:lvl1pPr>
          </a:lstStyle>
          <a:p>
            <a:pPr>
              <a:lnSpc>
                <a:spcPct val="120000"/>
              </a:lnSpc>
            </a:pPr>
            <a:r>
              <a:rPr lang="en-GB" sz="2000" spc="0" dirty="0">
                <a:solidFill>
                  <a:srgbClr val="FFFFFF"/>
                </a:solidFill>
              </a:rPr>
              <a:t>Powertrain Systems</a:t>
            </a:r>
          </a:p>
        </p:txBody>
      </p:sp>
      <p:sp>
        <p:nvSpPr>
          <p:cNvPr id="68" name="backgroundFixed">
            <a:extLst>
              <a:ext uri="{FF2B5EF4-FFF2-40B4-BE49-F238E27FC236}">
                <a16:creationId xmlns:a16="http://schemas.microsoft.com/office/drawing/2014/main" id="{BBA500B4-C4DC-3636-900B-B27361F601BF}"/>
              </a:ext>
            </a:extLst>
          </p:cNvPr>
          <p:cNvSpPr/>
          <p:nvPr>
            <p:custDataLst>
              <p:tags r:id="rId9"/>
            </p:custDataLst>
          </p:nvPr>
        </p:nvSpPr>
        <p:spPr>
          <a:xfrm>
            <a:off x="5333383" y="3362747"/>
            <a:ext cx="720000" cy="720000"/>
          </a:xfrm>
          <a:prstGeom prst="rect">
            <a:avLst/>
          </a:prstGeom>
          <a:solidFill>
            <a:srgbClr val="5500B4"/>
          </a:solidFill>
          <a:ln w="6350" cap="flat" cmpd="sng" algn="ctr">
            <a:solidFill>
              <a:srgbClr val="5500B4"/>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108000" numCol="1" spcCol="0" rtlCol="0" fromWordArt="0" anchor="t" anchorCtr="0" forceAA="0" compatLnSpc="1">
            <a:prstTxWarp prst="textNoShape">
              <a:avLst/>
            </a:prstTxWarp>
            <a:noAutofit/>
          </a:bodyPr>
          <a:lstStyle/>
          <a:p>
            <a:pPr algn="l"/>
            <a:endParaRPr lang="en-US" sz="1400" b="1">
              <a:solidFill>
                <a:schemeClr val="bg1"/>
              </a:solidFill>
            </a:endParaRPr>
          </a:p>
        </p:txBody>
      </p:sp>
      <p:grpSp>
        <p:nvGrpSpPr>
          <p:cNvPr id="69" name="easyIcon">
            <a:extLst>
              <a:ext uri="{FF2B5EF4-FFF2-40B4-BE49-F238E27FC236}">
                <a16:creationId xmlns:a16="http://schemas.microsoft.com/office/drawing/2014/main" id="{B440D0AF-4FB9-C126-E729-E0AF57DC7B59}"/>
              </a:ext>
            </a:extLst>
          </p:cNvPr>
          <p:cNvGrpSpPr>
            <a:grpSpLocks noChangeAspect="1"/>
          </p:cNvGrpSpPr>
          <p:nvPr>
            <p:custDataLst>
              <p:tags r:id="rId10"/>
            </p:custDataLst>
          </p:nvPr>
        </p:nvGrpSpPr>
        <p:grpSpPr>
          <a:xfrm>
            <a:off x="5328196" y="3380513"/>
            <a:ext cx="720000" cy="720000"/>
            <a:chOff x="8080200" y="1150756"/>
            <a:chExt cx="721100" cy="721100"/>
          </a:xfrm>
        </p:grpSpPr>
        <p:sp>
          <p:nvSpPr>
            <p:cNvPr id="70" name="backgroundFixed">
              <a:extLst>
                <a:ext uri="{FF2B5EF4-FFF2-40B4-BE49-F238E27FC236}">
                  <a16:creationId xmlns:a16="http://schemas.microsoft.com/office/drawing/2014/main" id="{A5646FDB-4DCD-6FFD-6B09-FEF7448B42B8}"/>
                </a:ext>
              </a:extLst>
            </p:cNvPr>
            <p:cNvSpPr/>
            <p:nvPr>
              <p:custDataLst>
                <p:tags r:id="rId11"/>
              </p:custDataLst>
            </p:nvPr>
          </p:nvSpPr>
          <p:spPr>
            <a:xfrm>
              <a:off x="8080200" y="1150756"/>
              <a:ext cx="721100" cy="721100"/>
            </a:xfrm>
            <a:prstGeom prst="rect">
              <a:avLst/>
            </a:prstGeom>
            <a:noFill/>
            <a:ln w="6350" cap="flat" cmpd="sng" algn="ctr">
              <a:noFill/>
              <a:prstDash val="solid"/>
              <a:round/>
              <a:headEnd type="none" w="med" len="med"/>
              <a:tailEnd type="none" w="med" len="med"/>
            </a:ln>
            <a:effectLst/>
            <a:extLst>
              <a:ext uri="{909E8E84-426E-40DD-AFC4-6F175D3DCCD1}">
                <a14:hiddenFill xmlns:a14="http://schemas.microsoft.com/office/drawing/2010/main">
                  <a:solidFill>
                    <a:srgbClr val="52C9FF"/>
                  </a:solidFill>
                </a14:hiddenFill>
              </a:ext>
              <a:ext uri="{91240B29-F687-4F45-9708-019B960494DF}">
                <a14:hiddenLine xmlns:a14="http://schemas.microsoft.com/office/drawing/2010/main" w="6350" cap="flat" cmpd="sng" algn="ctr">
                  <a:solidFill>
                    <a:srgbClr val="52C9F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108000" numCol="1" spcCol="0" rtlCol="0" fromWordArt="0" anchor="t" anchorCtr="0" forceAA="0" compatLnSpc="1">
              <a:prstTxWarp prst="textNoShape">
                <a:avLst/>
              </a:prstTxWarp>
              <a:noAutofit/>
            </a:bodyPr>
            <a:lstStyle/>
            <a:p>
              <a:pPr algn="l"/>
              <a:endParaRPr lang="en-US" sz="1400" b="1">
                <a:solidFill>
                  <a:schemeClr val="bg1"/>
                </a:solidFill>
              </a:endParaRPr>
            </a:p>
          </p:txBody>
        </p:sp>
        <p:pic>
          <p:nvPicPr>
            <p:cNvPr id="71" name="Vector">
              <a:extLst>
                <a:ext uri="{FF2B5EF4-FFF2-40B4-BE49-F238E27FC236}">
                  <a16:creationId xmlns:a16="http://schemas.microsoft.com/office/drawing/2014/main" id="{0ECA31E5-9183-C3B0-FD9B-8686376CE162}"/>
                </a:ext>
              </a:extLst>
            </p:cNvPr>
            <p:cNvPicPr>
              <a:picLocks noChangeAspect="1"/>
            </p:cNvPicPr>
            <p:nvPr/>
          </p:nvPicPr>
          <p:blipFill>
            <a:blip r:embed="rId32">
              <a:extLst>
                <a:ext uri="{96DAC541-7B7A-43D3-8B79-37D633B846F1}">
                  <asvg:svgBlip xmlns:asvg="http://schemas.microsoft.com/office/drawing/2016/SVG/main" r:embed="rId33"/>
                </a:ext>
              </a:extLst>
            </a:blip>
            <a:stretch>
              <a:fillRect/>
            </a:stretch>
          </p:blipFill>
          <p:spPr bwMode="gray">
            <a:xfrm>
              <a:off x="8080200" y="1150756"/>
              <a:ext cx="721100" cy="721100"/>
            </a:xfrm>
            <a:prstGeom prst="rect">
              <a:avLst/>
            </a:prstGeom>
          </p:spPr>
        </p:pic>
      </p:grpSp>
      <p:sp>
        <p:nvSpPr>
          <p:cNvPr id="73" name="Footer Placeholder 2">
            <a:extLst>
              <a:ext uri="{FF2B5EF4-FFF2-40B4-BE49-F238E27FC236}">
                <a16:creationId xmlns:a16="http://schemas.microsoft.com/office/drawing/2014/main" id="{9DD2BAC5-1AED-3FA2-7900-E1A1C7FC7D41}"/>
              </a:ext>
            </a:extLst>
          </p:cNvPr>
          <p:cNvSpPr>
            <a:spLocks noGrp="1"/>
          </p:cNvSpPr>
          <p:nvPr>
            <p:ph type="ftr" sz="quarter" idx="10"/>
          </p:nvPr>
        </p:nvSpPr>
        <p:spPr>
          <a:xfrm>
            <a:off x="972123" y="6048375"/>
            <a:ext cx="4608513" cy="179364"/>
          </a:xfrm>
        </p:spPr>
        <p:txBody>
          <a:bodyPr/>
          <a:lstStyle/>
          <a:p>
            <a:r>
              <a:rPr lang="en-US" dirty="0">
                <a:solidFill>
                  <a:schemeClr val="bg1"/>
                </a:solidFill>
              </a:rPr>
              <a:t>IAV  05/2025  IAVJ  DKO  Status: draft, confidential</a:t>
            </a:r>
          </a:p>
        </p:txBody>
      </p:sp>
    </p:spTree>
    <p:extLst>
      <p:ext uri="{BB962C8B-B14F-4D97-AF65-F5344CB8AC3E}">
        <p14:creationId xmlns:p14="http://schemas.microsoft.com/office/powerpoint/2010/main" val="340684304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706596-DE26-3D9A-8AA0-1193740739AB}"/>
              </a:ext>
            </a:extLst>
          </p:cNvPr>
          <p:cNvSpPr>
            <a:spLocks noGrp="1"/>
          </p:cNvSpPr>
          <p:nvPr>
            <p:ph type="title"/>
          </p:nvPr>
        </p:nvSpPr>
        <p:spPr/>
        <p:txBody>
          <a:bodyPr/>
          <a:lstStyle/>
          <a:p>
            <a:r>
              <a:rPr lang="en-US" dirty="0"/>
              <a:t>PQC Approaches</a:t>
            </a:r>
          </a:p>
        </p:txBody>
      </p:sp>
      <p:sp>
        <p:nvSpPr>
          <p:cNvPr id="5" name="Footer Placeholder 4">
            <a:extLst>
              <a:ext uri="{FF2B5EF4-FFF2-40B4-BE49-F238E27FC236}">
                <a16:creationId xmlns:a16="http://schemas.microsoft.com/office/drawing/2014/main" id="{A6CF3F66-D309-DB2B-D672-BA086DD397A0}"/>
              </a:ext>
            </a:extLst>
          </p:cNvPr>
          <p:cNvSpPr>
            <a:spLocks noGrp="1"/>
          </p:cNvSpPr>
          <p:nvPr>
            <p:ph type="ftr" sz="quarter" idx="10"/>
          </p:nvPr>
        </p:nvSpPr>
        <p:spPr/>
        <p:txBody>
          <a:bodyPr/>
          <a:lstStyle/>
          <a:p>
            <a:r>
              <a:rPr lang="en-US" dirty="0"/>
              <a:t>IAV  05/2025  IAVJ  DKO  Status: draft, confidential</a:t>
            </a:r>
          </a:p>
        </p:txBody>
      </p:sp>
      <p:sp>
        <p:nvSpPr>
          <p:cNvPr id="6" name="Slide Number Placeholder 5">
            <a:extLst>
              <a:ext uri="{FF2B5EF4-FFF2-40B4-BE49-F238E27FC236}">
                <a16:creationId xmlns:a16="http://schemas.microsoft.com/office/drawing/2014/main" id="{EC0979CF-6A11-A519-9A23-99F1363CA784}"/>
              </a:ext>
            </a:extLst>
          </p:cNvPr>
          <p:cNvSpPr>
            <a:spLocks noGrp="1"/>
          </p:cNvSpPr>
          <p:nvPr>
            <p:ph type="sldNum" sz="quarter" idx="11"/>
          </p:nvPr>
        </p:nvSpPr>
        <p:spPr/>
        <p:txBody>
          <a:bodyPr/>
          <a:lstStyle/>
          <a:p>
            <a:fld id="{C651C7C4-31E4-E340-822E-DEA0EA75A835}" type="slidenum">
              <a:rPr lang="en-US" smtClean="0"/>
              <a:pPr/>
              <a:t>20</a:t>
            </a:fld>
            <a:endParaRPr lang="en-US" dirty="0"/>
          </a:p>
        </p:txBody>
      </p:sp>
      <p:sp>
        <p:nvSpPr>
          <p:cNvPr id="7" name="Rectangle: Rounded Corners 6">
            <a:extLst>
              <a:ext uri="{FF2B5EF4-FFF2-40B4-BE49-F238E27FC236}">
                <a16:creationId xmlns:a16="http://schemas.microsoft.com/office/drawing/2014/main" id="{92590D64-3168-97F5-E661-E8A7F6CE1794}"/>
              </a:ext>
            </a:extLst>
          </p:cNvPr>
          <p:cNvSpPr/>
          <p:nvPr/>
        </p:nvSpPr>
        <p:spPr>
          <a:xfrm>
            <a:off x="1007716" y="5316168"/>
            <a:ext cx="9397044" cy="529084"/>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lstStyle/>
          <a:p>
            <a:pPr algn="ctr">
              <a:spcBef>
                <a:spcPts val="800"/>
              </a:spcBef>
            </a:pPr>
            <a:r>
              <a:rPr lang="en-US" sz="2000" dirty="0"/>
              <a:t>Post Quantum Computing Crypto solutions are needed to address the risks</a:t>
            </a:r>
          </a:p>
        </p:txBody>
      </p:sp>
      <p:sp>
        <p:nvSpPr>
          <p:cNvPr id="8" name="TextBox 7">
            <a:extLst>
              <a:ext uri="{FF2B5EF4-FFF2-40B4-BE49-F238E27FC236}">
                <a16:creationId xmlns:a16="http://schemas.microsoft.com/office/drawing/2014/main" id="{290F550F-ACF8-8DED-6DC3-278505F7FA2F}"/>
              </a:ext>
            </a:extLst>
          </p:cNvPr>
          <p:cNvSpPr txBox="1"/>
          <p:nvPr/>
        </p:nvSpPr>
        <p:spPr>
          <a:xfrm>
            <a:off x="8526608" y="-1"/>
            <a:ext cx="3138292" cy="707886"/>
          </a:xfrm>
          <a:prstGeom prst="rect">
            <a:avLst/>
          </a:prstGeom>
          <a:noFill/>
        </p:spPr>
        <p:txBody>
          <a:bodyPr wrap="square" rtlCol="0">
            <a:spAutoFit/>
          </a:bodyPr>
          <a:lstStyle/>
          <a:p>
            <a:pPr algn="l"/>
            <a:r>
              <a:rPr lang="en-US" sz="1000" dirty="0"/>
              <a:t>ECDH: Elliptic Curve Diffie Hellman</a:t>
            </a:r>
          </a:p>
          <a:p>
            <a:pPr algn="l"/>
            <a:r>
              <a:rPr lang="en-US" sz="1000" dirty="0"/>
              <a:t>AES: Advanced Encryption Standard</a:t>
            </a:r>
          </a:p>
          <a:p>
            <a:r>
              <a:rPr lang="en-US" sz="1000" dirty="0"/>
              <a:t>SHA: Secure Hash Algorithm</a:t>
            </a:r>
          </a:p>
          <a:p>
            <a:pPr algn="l"/>
            <a:r>
              <a:rPr lang="en-US" sz="1000" dirty="0"/>
              <a:t>HMAC: Hash-based Message Authentication Code</a:t>
            </a:r>
          </a:p>
        </p:txBody>
      </p:sp>
      <p:sp>
        <p:nvSpPr>
          <p:cNvPr id="9" name="TextBox 8">
            <a:extLst>
              <a:ext uri="{FF2B5EF4-FFF2-40B4-BE49-F238E27FC236}">
                <a16:creationId xmlns:a16="http://schemas.microsoft.com/office/drawing/2014/main" id="{5B2D3BCE-D141-B1E5-E293-917A3228CEFF}"/>
              </a:ext>
            </a:extLst>
          </p:cNvPr>
          <p:cNvSpPr txBox="1"/>
          <p:nvPr/>
        </p:nvSpPr>
        <p:spPr>
          <a:xfrm>
            <a:off x="5588152" y="-1"/>
            <a:ext cx="3138292" cy="707886"/>
          </a:xfrm>
          <a:prstGeom prst="rect">
            <a:avLst/>
          </a:prstGeom>
          <a:noFill/>
        </p:spPr>
        <p:txBody>
          <a:bodyPr wrap="square" rtlCol="0">
            <a:spAutoFit/>
          </a:bodyPr>
          <a:lstStyle/>
          <a:p>
            <a:r>
              <a:rPr lang="en-US" sz="1000" dirty="0"/>
              <a:t>PQC: Post-Quantum Cryptography</a:t>
            </a:r>
          </a:p>
          <a:p>
            <a:r>
              <a:rPr lang="en-US" sz="1000" dirty="0"/>
              <a:t>RSA: Rivest Shamir Adleman</a:t>
            </a:r>
          </a:p>
          <a:p>
            <a:pPr algn="l"/>
            <a:r>
              <a:rPr lang="en-US" sz="1000" dirty="0"/>
              <a:t>ECC: Elliptic Curve Cryptography</a:t>
            </a:r>
          </a:p>
          <a:p>
            <a:pPr algn="l"/>
            <a:r>
              <a:rPr lang="en-US" sz="1000" dirty="0"/>
              <a:t>ECDSA: Elliptic Curve Digital Signing Algorithm</a:t>
            </a:r>
          </a:p>
        </p:txBody>
      </p:sp>
      <p:graphicFrame>
        <p:nvGraphicFramePr>
          <p:cNvPr id="11" name="Table 10">
            <a:extLst>
              <a:ext uri="{FF2B5EF4-FFF2-40B4-BE49-F238E27FC236}">
                <a16:creationId xmlns:a16="http://schemas.microsoft.com/office/drawing/2014/main" id="{E03A30CD-A273-8E4A-E91F-DA0AE95D1CAC}"/>
              </a:ext>
            </a:extLst>
          </p:cNvPr>
          <p:cNvGraphicFramePr>
            <a:graphicFrameLocks noGrp="1"/>
          </p:cNvGraphicFramePr>
          <p:nvPr>
            <p:extLst>
              <p:ext uri="{D42A27DB-BD31-4B8C-83A1-F6EECF244321}">
                <p14:modId xmlns:p14="http://schemas.microsoft.com/office/powerpoint/2010/main" val="520670799"/>
              </p:ext>
            </p:extLst>
          </p:nvPr>
        </p:nvGraphicFramePr>
        <p:xfrm>
          <a:off x="539664" y="951255"/>
          <a:ext cx="10440988" cy="3922776"/>
        </p:xfrm>
        <a:graphic>
          <a:graphicData uri="http://schemas.openxmlformats.org/drawingml/2006/table">
            <a:tbl>
              <a:tblPr firstRow="1" bandRow="1">
                <a:tableStyleId>{5C22544A-7EE6-4342-B048-85BDC9FD1C3A}</a:tableStyleId>
              </a:tblPr>
              <a:tblGrid>
                <a:gridCol w="2484276">
                  <a:extLst>
                    <a:ext uri="{9D8B030D-6E8A-4147-A177-3AD203B41FA5}">
                      <a16:colId xmlns:a16="http://schemas.microsoft.com/office/drawing/2014/main" val="2078311336"/>
                    </a:ext>
                  </a:extLst>
                </a:gridCol>
                <a:gridCol w="4464496">
                  <a:extLst>
                    <a:ext uri="{9D8B030D-6E8A-4147-A177-3AD203B41FA5}">
                      <a16:colId xmlns:a16="http://schemas.microsoft.com/office/drawing/2014/main" val="414374889"/>
                    </a:ext>
                  </a:extLst>
                </a:gridCol>
                <a:gridCol w="3492216">
                  <a:extLst>
                    <a:ext uri="{9D8B030D-6E8A-4147-A177-3AD203B41FA5}">
                      <a16:colId xmlns:a16="http://schemas.microsoft.com/office/drawing/2014/main" val="2160319848"/>
                    </a:ext>
                  </a:extLst>
                </a:gridCol>
              </a:tblGrid>
              <a:tr h="370840">
                <a:tc>
                  <a:txBody>
                    <a:bodyPr/>
                    <a:lstStyle/>
                    <a:p>
                      <a:r>
                        <a:rPr lang="en-US" dirty="0"/>
                        <a:t>Traditional Algorithm</a:t>
                      </a:r>
                    </a:p>
                  </a:txBody>
                  <a:tcPr/>
                </a:tc>
                <a:tc>
                  <a:txBody>
                    <a:bodyPr/>
                    <a:lstStyle/>
                    <a:p>
                      <a:r>
                        <a:rPr lang="en-US" dirty="0"/>
                        <a:t>Quantum Vulnerability</a:t>
                      </a:r>
                    </a:p>
                  </a:txBody>
                  <a:tcPr/>
                </a:tc>
                <a:tc>
                  <a:txBody>
                    <a:bodyPr/>
                    <a:lstStyle/>
                    <a:p>
                      <a:r>
                        <a:rPr lang="en-US" dirty="0"/>
                        <a:t>PQC Approach</a:t>
                      </a:r>
                    </a:p>
                  </a:txBody>
                  <a:tcPr/>
                </a:tc>
                <a:extLst>
                  <a:ext uri="{0D108BD9-81ED-4DB2-BD59-A6C34878D82A}">
                    <a16:rowId xmlns:a16="http://schemas.microsoft.com/office/drawing/2014/main" val="2823402885"/>
                  </a:ext>
                </a:extLst>
              </a:tr>
              <a:tr h="370840">
                <a:tc>
                  <a:txBody>
                    <a:bodyPr/>
                    <a:lstStyle/>
                    <a:p>
                      <a:r>
                        <a:rPr lang="en-US" dirty="0"/>
                        <a:t>RSA</a:t>
                      </a:r>
                    </a:p>
                  </a:txBody>
                  <a:tcPr/>
                </a:tc>
                <a:tc>
                  <a:txBody>
                    <a:bodyPr/>
                    <a:lstStyle/>
                    <a:p>
                      <a:r>
                        <a:rPr lang="en-US" dirty="0"/>
                        <a:t>Broken by Shor’s algorithm</a:t>
                      </a:r>
                    </a:p>
                  </a:txBody>
                  <a:tcPr/>
                </a:tc>
                <a:tc>
                  <a:txBody>
                    <a:bodyPr/>
                    <a:lstStyle/>
                    <a:p>
                      <a:r>
                        <a:rPr lang="en-US" dirty="0"/>
                        <a:t>CRYSTALS-Kyber (key exchange)</a:t>
                      </a:r>
                    </a:p>
                  </a:txBody>
                  <a:tcPr/>
                </a:tc>
                <a:extLst>
                  <a:ext uri="{0D108BD9-81ED-4DB2-BD59-A6C34878D82A}">
                    <a16:rowId xmlns:a16="http://schemas.microsoft.com/office/drawing/2014/main" val="3014373652"/>
                  </a:ext>
                </a:extLst>
              </a:tr>
              <a:tr h="370840">
                <a:tc>
                  <a:txBody>
                    <a:bodyPr/>
                    <a:lstStyle/>
                    <a:p>
                      <a:r>
                        <a:rPr lang="en-US" dirty="0"/>
                        <a:t>ECC (ECDSA, ECDH)</a:t>
                      </a:r>
                    </a:p>
                  </a:txBody>
                  <a:tcPr/>
                </a:tc>
                <a:tc>
                  <a:txBody>
                    <a:bodyPr/>
                    <a:lstStyle/>
                    <a:p>
                      <a:pPr marL="0" marR="0" lvl="0" indent="0" algn="l" defTabSz="863995" rtl="0" eaLnBrk="1" fontAlgn="auto" latinLnBrk="0" hangingPunct="1">
                        <a:lnSpc>
                          <a:spcPct val="100000"/>
                        </a:lnSpc>
                        <a:spcBef>
                          <a:spcPts val="0"/>
                        </a:spcBef>
                        <a:spcAft>
                          <a:spcPts val="0"/>
                        </a:spcAft>
                        <a:buClrTx/>
                        <a:buSzTx/>
                        <a:buFontTx/>
                        <a:buNone/>
                        <a:tabLst/>
                        <a:defRPr/>
                      </a:pPr>
                      <a:r>
                        <a:rPr lang="en-US" dirty="0"/>
                        <a:t>Broken by Shor’s algorithm</a:t>
                      </a:r>
                    </a:p>
                  </a:txBody>
                  <a:tcPr/>
                </a:tc>
                <a:tc>
                  <a:txBody>
                    <a:bodyPr/>
                    <a:lstStyle/>
                    <a:p>
                      <a:r>
                        <a:rPr lang="en-US" dirty="0"/>
                        <a:t>CRYSTALS-</a:t>
                      </a:r>
                      <a:r>
                        <a:rPr lang="en-US" dirty="0" err="1"/>
                        <a:t>Dilithium</a:t>
                      </a:r>
                      <a:r>
                        <a:rPr lang="en-US" dirty="0"/>
                        <a:t> (signatures)</a:t>
                      </a:r>
                    </a:p>
                  </a:txBody>
                  <a:tcPr/>
                </a:tc>
                <a:extLst>
                  <a:ext uri="{0D108BD9-81ED-4DB2-BD59-A6C34878D82A}">
                    <a16:rowId xmlns:a16="http://schemas.microsoft.com/office/drawing/2014/main" val="1410524623"/>
                  </a:ext>
                </a:extLst>
              </a:tr>
              <a:tr h="370840">
                <a:tc>
                  <a:txBody>
                    <a:bodyPr/>
                    <a:lstStyle/>
                    <a:p>
                      <a:r>
                        <a:rPr lang="en-US" dirty="0"/>
                        <a:t>AES-128</a:t>
                      </a:r>
                    </a:p>
                  </a:txBody>
                  <a:tcPr/>
                </a:tc>
                <a:tc>
                  <a:txBody>
                    <a:bodyPr/>
                    <a:lstStyle/>
                    <a:p>
                      <a:pPr marL="0" marR="0" lvl="0" indent="0" algn="l" defTabSz="863995" rtl="0" eaLnBrk="1" fontAlgn="auto" latinLnBrk="0" hangingPunct="1">
                        <a:lnSpc>
                          <a:spcPct val="100000"/>
                        </a:lnSpc>
                        <a:spcBef>
                          <a:spcPts val="0"/>
                        </a:spcBef>
                        <a:spcAft>
                          <a:spcPts val="0"/>
                        </a:spcAft>
                        <a:buClrTx/>
                        <a:buSzTx/>
                        <a:buFontTx/>
                        <a:buNone/>
                        <a:tabLst/>
                        <a:defRPr/>
                      </a:pPr>
                      <a:r>
                        <a:rPr lang="en-US" dirty="0"/>
                        <a:t>Grover’s algorithm halves security (64 bits)</a:t>
                      </a:r>
                    </a:p>
                  </a:txBody>
                  <a:tcPr/>
                </a:tc>
                <a:tc>
                  <a:txBody>
                    <a:bodyPr/>
                    <a:lstStyle/>
                    <a:p>
                      <a:r>
                        <a:rPr lang="en-US" dirty="0"/>
                        <a:t>Use AES-256</a:t>
                      </a:r>
                    </a:p>
                  </a:txBody>
                  <a:tcPr/>
                </a:tc>
                <a:extLst>
                  <a:ext uri="{0D108BD9-81ED-4DB2-BD59-A6C34878D82A}">
                    <a16:rowId xmlns:a16="http://schemas.microsoft.com/office/drawing/2014/main" val="243286240"/>
                  </a:ext>
                </a:extLst>
              </a:tr>
              <a:tr h="370840">
                <a:tc>
                  <a:txBody>
                    <a:bodyPr/>
                    <a:lstStyle/>
                    <a:p>
                      <a:r>
                        <a:rPr lang="en-US" dirty="0"/>
                        <a:t>SHA-2 (SHA-256)</a:t>
                      </a:r>
                    </a:p>
                  </a:txBody>
                  <a:tcPr/>
                </a:tc>
                <a:tc>
                  <a:txBody>
                    <a:bodyPr/>
                    <a:lstStyle/>
                    <a:p>
                      <a:pPr marL="0" marR="0" lvl="0" indent="0" algn="l" defTabSz="863995" rtl="0" eaLnBrk="1" fontAlgn="auto" latinLnBrk="0" hangingPunct="1">
                        <a:lnSpc>
                          <a:spcPct val="100000"/>
                        </a:lnSpc>
                        <a:spcBef>
                          <a:spcPts val="0"/>
                        </a:spcBef>
                        <a:spcAft>
                          <a:spcPts val="0"/>
                        </a:spcAft>
                        <a:buClrTx/>
                        <a:buSzTx/>
                        <a:buFontTx/>
                        <a:buNone/>
                        <a:tabLst/>
                        <a:defRPr/>
                      </a:pPr>
                      <a:r>
                        <a:rPr lang="en-US" dirty="0"/>
                        <a:t>Grover’s algorithm halves preimage resistance (128 bits)</a:t>
                      </a:r>
                    </a:p>
                  </a:txBody>
                  <a:tcPr/>
                </a:tc>
                <a:tc>
                  <a:txBody>
                    <a:bodyPr/>
                    <a:lstStyle/>
                    <a:p>
                      <a:r>
                        <a:rPr lang="en-US" dirty="0"/>
                        <a:t>Continue with SHA-2 or use SHA-512 for extra margin</a:t>
                      </a:r>
                    </a:p>
                  </a:txBody>
                  <a:tcPr/>
                </a:tc>
                <a:extLst>
                  <a:ext uri="{0D108BD9-81ED-4DB2-BD59-A6C34878D82A}">
                    <a16:rowId xmlns:a16="http://schemas.microsoft.com/office/drawing/2014/main" val="2172892397"/>
                  </a:ext>
                </a:extLst>
              </a:tr>
              <a:tr h="370840">
                <a:tc>
                  <a:txBody>
                    <a:bodyPr/>
                    <a:lstStyle/>
                    <a:p>
                      <a:r>
                        <a:rPr lang="en-US" dirty="0"/>
                        <a:t>SHA-3-256</a:t>
                      </a:r>
                    </a:p>
                  </a:txBody>
                  <a:tcPr/>
                </a:tc>
                <a:tc>
                  <a:txBody>
                    <a:bodyPr/>
                    <a:lstStyle/>
                    <a:p>
                      <a:pPr marL="0" marR="0" lvl="0" indent="0" algn="l" defTabSz="863995" rtl="0" eaLnBrk="1" fontAlgn="auto" latinLnBrk="0" hangingPunct="1">
                        <a:lnSpc>
                          <a:spcPct val="100000"/>
                        </a:lnSpc>
                        <a:spcBef>
                          <a:spcPts val="0"/>
                        </a:spcBef>
                        <a:spcAft>
                          <a:spcPts val="0"/>
                        </a:spcAft>
                        <a:buClrTx/>
                        <a:buSzTx/>
                        <a:buFontTx/>
                        <a:buNone/>
                        <a:tabLst/>
                        <a:defRPr/>
                      </a:pPr>
                      <a:r>
                        <a:rPr lang="en-US" dirty="0"/>
                        <a:t>Grover’s algorithm halves preimage resistance (128 bits)</a:t>
                      </a:r>
                    </a:p>
                  </a:txBody>
                  <a:tcPr/>
                </a:tc>
                <a:tc>
                  <a:txBody>
                    <a:bodyPr/>
                    <a:lstStyle/>
                    <a:p>
                      <a:r>
                        <a:rPr lang="en-US" dirty="0"/>
                        <a:t>Continue with SHA-3-256 or use SHA-3-512 for extra margin</a:t>
                      </a:r>
                    </a:p>
                  </a:txBody>
                  <a:tcPr/>
                </a:tc>
                <a:extLst>
                  <a:ext uri="{0D108BD9-81ED-4DB2-BD59-A6C34878D82A}">
                    <a16:rowId xmlns:a16="http://schemas.microsoft.com/office/drawing/2014/main" val="3845415110"/>
                  </a:ext>
                </a:extLst>
              </a:tr>
              <a:tr h="370840">
                <a:tc>
                  <a:txBody>
                    <a:bodyPr/>
                    <a:lstStyle/>
                    <a:p>
                      <a:r>
                        <a:rPr lang="en-US" dirty="0"/>
                        <a:t>HMAC</a:t>
                      </a:r>
                    </a:p>
                  </a:txBody>
                  <a:tcPr/>
                </a:tc>
                <a:tc>
                  <a:txBody>
                    <a:bodyPr/>
                    <a:lstStyle/>
                    <a:p>
                      <a:pPr marL="0" marR="0" lvl="0" indent="0" algn="l" defTabSz="863995" rtl="0" eaLnBrk="1" fontAlgn="auto" latinLnBrk="0" hangingPunct="1">
                        <a:lnSpc>
                          <a:spcPct val="100000"/>
                        </a:lnSpc>
                        <a:spcBef>
                          <a:spcPts val="0"/>
                        </a:spcBef>
                        <a:spcAft>
                          <a:spcPts val="0"/>
                        </a:spcAft>
                        <a:buClrTx/>
                        <a:buSzTx/>
                        <a:buFontTx/>
                        <a:buNone/>
                        <a:tabLst/>
                        <a:defRPr/>
                      </a:pPr>
                      <a:r>
                        <a:rPr lang="en-US" dirty="0"/>
                        <a:t>Depends on underlying hash (SHA-2 or SHA-3)</a:t>
                      </a:r>
                    </a:p>
                  </a:txBody>
                  <a:tcPr/>
                </a:tc>
                <a:tc>
                  <a:txBody>
                    <a:bodyPr/>
                    <a:lstStyle/>
                    <a:p>
                      <a:r>
                        <a:rPr lang="en-US" dirty="0"/>
                        <a:t>See above for SHA-2 and SHA-3-256</a:t>
                      </a:r>
                    </a:p>
                  </a:txBody>
                  <a:tcPr/>
                </a:tc>
                <a:extLst>
                  <a:ext uri="{0D108BD9-81ED-4DB2-BD59-A6C34878D82A}">
                    <a16:rowId xmlns:a16="http://schemas.microsoft.com/office/drawing/2014/main" val="1931546923"/>
                  </a:ext>
                </a:extLst>
              </a:tr>
              <a:tr h="370840">
                <a:tc>
                  <a:txBody>
                    <a:bodyPr/>
                    <a:lstStyle/>
                    <a:p>
                      <a:r>
                        <a:rPr lang="en-US" dirty="0"/>
                        <a:t>ChaCha20 (256 bits)</a:t>
                      </a:r>
                    </a:p>
                  </a:txBody>
                  <a:tcPr/>
                </a:tc>
                <a:tc>
                  <a:txBody>
                    <a:bodyPr/>
                    <a:lstStyle/>
                    <a:p>
                      <a:pPr marL="0" marR="0" lvl="0" indent="0" algn="l" defTabSz="863995" rtl="0" eaLnBrk="1" fontAlgn="auto" latinLnBrk="0" hangingPunct="1">
                        <a:lnSpc>
                          <a:spcPct val="100000"/>
                        </a:lnSpc>
                        <a:spcBef>
                          <a:spcPts val="0"/>
                        </a:spcBef>
                        <a:spcAft>
                          <a:spcPts val="0"/>
                        </a:spcAft>
                        <a:buClrTx/>
                        <a:buSzTx/>
                        <a:buFontTx/>
                        <a:buNone/>
                        <a:tabLst/>
                        <a:defRPr/>
                      </a:pPr>
                      <a:r>
                        <a:rPr lang="en-US" dirty="0"/>
                        <a:t>Grover’s algorithm halves security (128 bits)</a:t>
                      </a:r>
                    </a:p>
                  </a:txBody>
                  <a:tcPr/>
                </a:tc>
                <a:tc>
                  <a:txBody>
                    <a:bodyPr/>
                    <a:lstStyle/>
                    <a:p>
                      <a:r>
                        <a:rPr lang="en-US" dirty="0"/>
                        <a:t>Continue with ChaCha20 (256 bits)</a:t>
                      </a:r>
                    </a:p>
                  </a:txBody>
                  <a:tcPr/>
                </a:tc>
                <a:extLst>
                  <a:ext uri="{0D108BD9-81ED-4DB2-BD59-A6C34878D82A}">
                    <a16:rowId xmlns:a16="http://schemas.microsoft.com/office/drawing/2014/main" val="3330123277"/>
                  </a:ext>
                </a:extLst>
              </a:tr>
            </a:tbl>
          </a:graphicData>
        </a:graphic>
      </p:graphicFrame>
    </p:spTree>
    <p:extLst>
      <p:ext uri="{BB962C8B-B14F-4D97-AF65-F5344CB8AC3E}">
        <p14:creationId xmlns:p14="http://schemas.microsoft.com/office/powerpoint/2010/main" val="80253017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Placeholder 11" descr="Formulas on a background">
            <a:extLst>
              <a:ext uri="{FF2B5EF4-FFF2-40B4-BE49-F238E27FC236}">
                <a16:creationId xmlns:a16="http://schemas.microsoft.com/office/drawing/2014/main" id="{4A9FF45F-98F6-F56B-EA8A-BE7CE1181801}"/>
              </a:ext>
            </a:extLst>
          </p:cNvPr>
          <p:cNvPicPr>
            <a:picLocks noGrp="1" noChangeAspect="1"/>
          </p:cNvPicPr>
          <p:nvPr>
            <p:ph type="pic" sz="quarter" idx="12"/>
          </p:nvPr>
        </p:nvPicPr>
        <p:blipFill>
          <a:blip r:embed="rId3">
            <a:extLst>
              <a:ext uri="{28A0092B-C50C-407E-A947-70E740481C1C}">
                <a14:useLocalDpi xmlns:a14="http://schemas.microsoft.com/office/drawing/2010/main" val="0"/>
              </a:ext>
            </a:extLst>
          </a:blip>
          <a:srcRect t="12501" b="12501"/>
          <a:stretch>
            <a:fillRect/>
          </a:stretch>
        </p:blipFill>
        <p:spPr/>
      </p:pic>
      <p:sp>
        <p:nvSpPr>
          <p:cNvPr id="4" name="Slide Number Placeholder 3">
            <a:extLst>
              <a:ext uri="{FF2B5EF4-FFF2-40B4-BE49-F238E27FC236}">
                <a16:creationId xmlns:a16="http://schemas.microsoft.com/office/drawing/2014/main" id="{B8152D24-EAB5-B05B-F122-7D59A02AF309}"/>
              </a:ext>
            </a:extLst>
          </p:cNvPr>
          <p:cNvSpPr>
            <a:spLocks noGrp="1"/>
          </p:cNvSpPr>
          <p:nvPr>
            <p:ph type="sldNum" sz="quarter" idx="11"/>
          </p:nvPr>
        </p:nvSpPr>
        <p:spPr/>
        <p:txBody>
          <a:bodyPr/>
          <a:lstStyle/>
          <a:p>
            <a:fld id="{DD6C52D8-AF7F-4297-9A35-2617B7FF1801}" type="slidenum">
              <a:rPr lang="en-US" smtClean="0"/>
              <a:pPr/>
              <a:t>21</a:t>
            </a:fld>
            <a:endParaRPr lang="en-US" dirty="0"/>
          </a:p>
        </p:txBody>
      </p:sp>
      <p:sp>
        <p:nvSpPr>
          <p:cNvPr id="13" name="Rectangle 12">
            <a:extLst>
              <a:ext uri="{FF2B5EF4-FFF2-40B4-BE49-F238E27FC236}">
                <a16:creationId xmlns:a16="http://schemas.microsoft.com/office/drawing/2014/main" id="{8A2E4AE6-799F-0AE6-BB44-C8B84994BC2C}"/>
              </a:ext>
            </a:extLst>
          </p:cNvPr>
          <p:cNvSpPr/>
          <p:nvPr/>
        </p:nvSpPr>
        <p:spPr>
          <a:xfrm>
            <a:off x="0" y="4076596"/>
            <a:ext cx="11520488" cy="1116124"/>
          </a:xfrm>
          <a:prstGeom prst="rect">
            <a:avLst/>
          </a:prstGeom>
          <a:solidFill>
            <a:schemeClr val="accent4">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lstStyle/>
          <a:p>
            <a:pPr algn="l">
              <a:spcBef>
                <a:spcPts val="800"/>
              </a:spcBef>
            </a:pPr>
            <a:endParaRPr lang="en-US" sz="1600" dirty="0" err="1"/>
          </a:p>
        </p:txBody>
      </p:sp>
      <p:sp>
        <p:nvSpPr>
          <p:cNvPr id="9" name="Title 8">
            <a:extLst>
              <a:ext uri="{FF2B5EF4-FFF2-40B4-BE49-F238E27FC236}">
                <a16:creationId xmlns:a16="http://schemas.microsoft.com/office/drawing/2014/main" id="{4CDAC5B3-F105-D4F0-E3D1-CFB56CF07A5E}"/>
              </a:ext>
            </a:extLst>
          </p:cNvPr>
          <p:cNvSpPr>
            <a:spLocks noGrp="1"/>
          </p:cNvSpPr>
          <p:nvPr>
            <p:ph type="title"/>
          </p:nvPr>
        </p:nvSpPr>
        <p:spPr>
          <a:xfrm>
            <a:off x="539750" y="4355842"/>
            <a:ext cx="10440988" cy="613033"/>
          </a:xfrm>
        </p:spPr>
        <p:txBody>
          <a:bodyPr/>
          <a:lstStyle/>
          <a:p>
            <a:r>
              <a:rPr lang="en-US" sz="2400" dirty="0"/>
              <a:t>Crypto Agility</a:t>
            </a:r>
            <a:br>
              <a:rPr lang="en-US" sz="2400" dirty="0"/>
            </a:br>
            <a:r>
              <a:rPr lang="en-US" sz="2000" dirty="0"/>
              <a:t>Cryptographic algorithms can get outdated ⇒ need to be updatable</a:t>
            </a:r>
          </a:p>
        </p:txBody>
      </p:sp>
    </p:spTree>
    <p:extLst>
      <p:ext uri="{BB962C8B-B14F-4D97-AF65-F5344CB8AC3E}">
        <p14:creationId xmlns:p14="http://schemas.microsoft.com/office/powerpoint/2010/main" val="409557917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8BBA491-238A-72FB-5937-4FDA039B9766}"/>
              </a:ext>
            </a:extLst>
          </p:cNvPr>
          <p:cNvSpPr>
            <a:spLocks noGrp="1"/>
          </p:cNvSpPr>
          <p:nvPr>
            <p:ph type="title"/>
          </p:nvPr>
        </p:nvSpPr>
        <p:spPr>
          <a:xfrm>
            <a:off x="539750" y="359767"/>
            <a:ext cx="10440988" cy="720113"/>
          </a:xfrm>
        </p:spPr>
        <p:txBody>
          <a:bodyPr/>
          <a:lstStyle/>
          <a:p>
            <a:r>
              <a:rPr lang="en-US" dirty="0">
                <a:solidFill>
                  <a:srgbClr val="A200E6"/>
                </a:solidFill>
              </a:rPr>
              <a:t>Crypto Agility - IAV </a:t>
            </a:r>
            <a:r>
              <a:rPr lang="en-US" i="1" dirty="0" err="1">
                <a:solidFill>
                  <a:srgbClr val="A200E6"/>
                </a:solidFill>
              </a:rPr>
              <a:t>quantum</a:t>
            </a:r>
            <a:r>
              <a:rPr lang="en-US" dirty="0" err="1">
                <a:solidFill>
                  <a:srgbClr val="A200E6"/>
                </a:solidFill>
              </a:rPr>
              <a:t>SAR</a:t>
            </a:r>
            <a:br>
              <a:rPr lang="en-US" dirty="0"/>
            </a:br>
            <a:r>
              <a:rPr lang="en-US" dirty="0"/>
              <a:t>Concept</a:t>
            </a:r>
          </a:p>
        </p:txBody>
      </p:sp>
      <p:sp>
        <p:nvSpPr>
          <p:cNvPr id="4" name="Foliennummernplatzhalter 3">
            <a:extLst>
              <a:ext uri="{FF2B5EF4-FFF2-40B4-BE49-F238E27FC236}">
                <a16:creationId xmlns:a16="http://schemas.microsoft.com/office/drawing/2014/main" id="{AFBC3039-822B-8656-F59D-FC2D34FA4F50}"/>
              </a:ext>
            </a:extLst>
          </p:cNvPr>
          <p:cNvSpPr>
            <a:spLocks noGrp="1"/>
          </p:cNvSpPr>
          <p:nvPr>
            <p:ph type="sldNum" sz="quarter" idx="11"/>
          </p:nvPr>
        </p:nvSpPr>
        <p:spPr/>
        <p:txBody>
          <a:bodyPr/>
          <a:lstStyle/>
          <a:p>
            <a:fld id="{C651C7C4-31E4-E340-822E-DEA0EA75A835}" type="slidenum">
              <a:rPr lang="en-US" smtClean="0"/>
              <a:pPr/>
              <a:t>22</a:t>
            </a:fld>
            <a:endParaRPr lang="en-US" dirty="0"/>
          </a:p>
        </p:txBody>
      </p:sp>
      <p:sp>
        <p:nvSpPr>
          <p:cNvPr id="6" name="Textplatzhalter 5">
            <a:extLst>
              <a:ext uri="{FF2B5EF4-FFF2-40B4-BE49-F238E27FC236}">
                <a16:creationId xmlns:a16="http://schemas.microsoft.com/office/drawing/2014/main" id="{F7022088-D009-076A-B4BA-DD24218C80BC}"/>
              </a:ext>
            </a:extLst>
          </p:cNvPr>
          <p:cNvSpPr>
            <a:spLocks noGrp="1"/>
          </p:cNvSpPr>
          <p:nvPr>
            <p:ph type="body" sz="quarter" idx="13"/>
          </p:nvPr>
        </p:nvSpPr>
        <p:spPr>
          <a:xfrm>
            <a:off x="4320083" y="1295400"/>
            <a:ext cx="6660655" cy="4133952"/>
          </a:xfrm>
        </p:spPr>
        <p:txBody>
          <a:bodyPr/>
          <a:lstStyle/>
          <a:p>
            <a:r>
              <a:rPr lang="en-US" dirty="0"/>
              <a:t>IAV </a:t>
            </a:r>
            <a:r>
              <a:rPr lang="en-US" i="1" dirty="0" err="1"/>
              <a:t>quantum</a:t>
            </a:r>
            <a:r>
              <a:rPr lang="en-US" dirty="0" err="1"/>
              <a:t>SAR</a:t>
            </a:r>
            <a:r>
              <a:rPr lang="en-US" dirty="0"/>
              <a:t> is divided into two parts</a:t>
            </a:r>
          </a:p>
          <a:p>
            <a:pPr lvl="1"/>
            <a:r>
              <a:rPr lang="en-US" dirty="0">
                <a:solidFill>
                  <a:schemeClr val="accent5"/>
                </a:solidFill>
              </a:rPr>
              <a:t>Post-Quantum Algorithm</a:t>
            </a:r>
            <a:r>
              <a:rPr lang="en-US" dirty="0"/>
              <a:t>: platform-independent library with all algorithm standardized by NIST</a:t>
            </a:r>
          </a:p>
          <a:p>
            <a:pPr lvl="2"/>
            <a:r>
              <a:rPr lang="en-US" dirty="0"/>
              <a:t>Implemented in C and RUST</a:t>
            </a:r>
          </a:p>
          <a:p>
            <a:pPr lvl="2"/>
            <a:r>
              <a:rPr lang="en-US" dirty="0"/>
              <a:t>Available as </a:t>
            </a:r>
            <a:r>
              <a:rPr lang="en-US" dirty="0">
                <a:solidFill>
                  <a:schemeClr val="accent5"/>
                </a:solidFill>
              </a:rPr>
              <a:t>open-source repository</a:t>
            </a:r>
            <a:r>
              <a:rPr lang="en-US" dirty="0"/>
              <a:t> on GitHub</a:t>
            </a:r>
            <a:br>
              <a:rPr lang="en-US" dirty="0"/>
            </a:br>
            <a:r>
              <a:rPr lang="en-US" dirty="0"/>
              <a:t>(C available now, RUST to follow in 2025)</a:t>
            </a:r>
          </a:p>
          <a:p>
            <a:pPr lvl="2"/>
            <a:r>
              <a:rPr lang="en-US" dirty="0"/>
              <a:t>Extendable design for future standardized algorithm</a:t>
            </a:r>
            <a:br>
              <a:rPr lang="en-US" dirty="0"/>
            </a:br>
            <a:r>
              <a:rPr lang="en-US" dirty="0"/>
              <a:t>(e.g., NIST PQC selection round 4) </a:t>
            </a:r>
            <a:br>
              <a:rPr lang="en-US" dirty="0"/>
            </a:br>
            <a:endParaRPr lang="en-US" dirty="0"/>
          </a:p>
          <a:p>
            <a:pPr lvl="1"/>
            <a:r>
              <a:rPr lang="en-US" dirty="0">
                <a:solidFill>
                  <a:schemeClr val="accent5"/>
                </a:solidFill>
              </a:rPr>
              <a:t>Wrapper</a:t>
            </a:r>
            <a:r>
              <a:rPr lang="en-US" dirty="0"/>
              <a:t>: platform-dependent wrapper for adaption on different software architectures </a:t>
            </a:r>
          </a:p>
          <a:p>
            <a:pPr lvl="2"/>
            <a:r>
              <a:rPr lang="en-US" dirty="0"/>
              <a:t>Implementation for AUTOSAR Classic Platform</a:t>
            </a:r>
          </a:p>
        </p:txBody>
      </p:sp>
      <p:pic>
        <p:nvPicPr>
          <p:cNvPr id="16" name="Grafik 15">
            <a:extLst>
              <a:ext uri="{FF2B5EF4-FFF2-40B4-BE49-F238E27FC236}">
                <a16:creationId xmlns:a16="http://schemas.microsoft.com/office/drawing/2014/main" id="{B8F31C2A-22AB-C6E4-DCCF-49EA84830CB8}"/>
              </a:ext>
            </a:extLst>
          </p:cNvPr>
          <p:cNvPicPr>
            <a:picLocks noChangeAspect="1"/>
          </p:cNvPicPr>
          <p:nvPr/>
        </p:nvPicPr>
        <p:blipFill>
          <a:blip r:embed="rId4"/>
          <a:stretch>
            <a:fillRect/>
          </a:stretch>
        </p:blipFill>
        <p:spPr>
          <a:xfrm>
            <a:off x="503660" y="1283234"/>
            <a:ext cx="3479060" cy="4537075"/>
          </a:xfrm>
          <a:prstGeom prst="rect">
            <a:avLst/>
          </a:prstGeom>
        </p:spPr>
      </p:pic>
      <p:sp>
        <p:nvSpPr>
          <p:cNvPr id="5" name="easyObject_QRCodeWithLink">
            <a:hlinkClick r:id="rId5"/>
            <a:extLst>
              <a:ext uri="{FF2B5EF4-FFF2-40B4-BE49-F238E27FC236}">
                <a16:creationId xmlns:a16="http://schemas.microsoft.com/office/drawing/2014/main" id="{FD769882-F944-D739-4771-E98E226162F3}"/>
              </a:ext>
            </a:extLst>
          </p:cNvPr>
          <p:cNvSpPr>
            <a:spLocks noChangeAspect="1"/>
          </p:cNvSpPr>
          <p:nvPr>
            <p:custDataLst>
              <p:tags r:id="rId1"/>
            </p:custDataLst>
          </p:nvPr>
        </p:nvSpPr>
        <p:spPr>
          <a:xfrm>
            <a:off x="9756602" y="359767"/>
            <a:ext cx="1224136" cy="1224136"/>
          </a:xfrm>
          <a:custGeom>
            <a:avLst/>
            <a:gdLst>
              <a:gd name="connsiteX0" fmla="*/ 22320003 w 23760003"/>
              <a:gd name="connsiteY0" fmla="*/ 23039927 h 23759927"/>
              <a:gd name="connsiteX1" fmla="*/ 23040001 w 23760003"/>
              <a:gd name="connsiteY1" fmla="*/ 23039927 h 23759927"/>
              <a:gd name="connsiteX2" fmla="*/ 23040001 w 23760003"/>
              <a:gd name="connsiteY2" fmla="*/ 23759927 h 23759927"/>
              <a:gd name="connsiteX3" fmla="*/ 22320003 w 23760003"/>
              <a:gd name="connsiteY3" fmla="*/ 23759927 h 23759927"/>
              <a:gd name="connsiteX4" fmla="*/ 19440003 w 23760003"/>
              <a:gd name="connsiteY4" fmla="*/ 23039927 h 23759927"/>
              <a:gd name="connsiteX5" fmla="*/ 20160003 w 23760003"/>
              <a:gd name="connsiteY5" fmla="*/ 23039927 h 23759927"/>
              <a:gd name="connsiteX6" fmla="*/ 20160003 w 23760003"/>
              <a:gd name="connsiteY6" fmla="*/ 23759927 h 23759927"/>
              <a:gd name="connsiteX7" fmla="*/ 19440003 w 23760003"/>
              <a:gd name="connsiteY7" fmla="*/ 23759927 h 23759927"/>
              <a:gd name="connsiteX8" fmla="*/ 15840003 w 23760003"/>
              <a:gd name="connsiteY8" fmla="*/ 23039927 h 23759927"/>
              <a:gd name="connsiteX9" fmla="*/ 18720003 w 23760003"/>
              <a:gd name="connsiteY9" fmla="*/ 23039927 h 23759927"/>
              <a:gd name="connsiteX10" fmla="*/ 18720003 w 23760003"/>
              <a:gd name="connsiteY10" fmla="*/ 23759927 h 23759927"/>
              <a:gd name="connsiteX11" fmla="*/ 15840003 w 23760003"/>
              <a:gd name="connsiteY11" fmla="*/ 23759927 h 23759927"/>
              <a:gd name="connsiteX12" fmla="*/ 6480001 w 23760003"/>
              <a:gd name="connsiteY12" fmla="*/ 23039927 h 23759927"/>
              <a:gd name="connsiteX13" fmla="*/ 7920002 w 23760003"/>
              <a:gd name="connsiteY13" fmla="*/ 23039927 h 23759927"/>
              <a:gd name="connsiteX14" fmla="*/ 7920002 w 23760003"/>
              <a:gd name="connsiteY14" fmla="*/ 23759927 h 23759927"/>
              <a:gd name="connsiteX15" fmla="*/ 6480001 w 23760003"/>
              <a:gd name="connsiteY15" fmla="*/ 23759927 h 23759927"/>
              <a:gd name="connsiteX16" fmla="*/ 7920002 w 23760003"/>
              <a:gd name="connsiteY16" fmla="*/ 22319927 h 23759927"/>
              <a:gd name="connsiteX17" fmla="*/ 9360002 w 23760003"/>
              <a:gd name="connsiteY17" fmla="*/ 22319927 h 23759927"/>
              <a:gd name="connsiteX18" fmla="*/ 9360002 w 23760003"/>
              <a:gd name="connsiteY18" fmla="*/ 23039925 h 23759927"/>
              <a:gd name="connsiteX19" fmla="*/ 7920002 w 23760003"/>
              <a:gd name="connsiteY19" fmla="*/ 23039925 h 23759927"/>
              <a:gd name="connsiteX20" fmla="*/ 20880001 w 23760003"/>
              <a:gd name="connsiteY20" fmla="*/ 21599927 h 23759927"/>
              <a:gd name="connsiteX21" fmla="*/ 22320003 w 23760003"/>
              <a:gd name="connsiteY21" fmla="*/ 21599927 h 23759927"/>
              <a:gd name="connsiteX22" fmla="*/ 22320003 w 23760003"/>
              <a:gd name="connsiteY22" fmla="*/ 22319927 h 23759927"/>
              <a:gd name="connsiteX23" fmla="*/ 22320003 w 23760003"/>
              <a:gd name="connsiteY23" fmla="*/ 23039925 h 23759927"/>
              <a:gd name="connsiteX24" fmla="*/ 20160003 w 23760003"/>
              <a:gd name="connsiteY24" fmla="*/ 23039925 h 23759927"/>
              <a:gd name="connsiteX25" fmla="*/ 20160003 w 23760003"/>
              <a:gd name="connsiteY25" fmla="*/ 22319927 h 23759927"/>
              <a:gd name="connsiteX26" fmla="*/ 20880001 w 23760003"/>
              <a:gd name="connsiteY26" fmla="*/ 22319927 h 23759927"/>
              <a:gd name="connsiteX27" fmla="*/ 18720001 w 23760003"/>
              <a:gd name="connsiteY27" fmla="*/ 21599927 h 23759927"/>
              <a:gd name="connsiteX28" fmla="*/ 20160003 w 23760003"/>
              <a:gd name="connsiteY28" fmla="*/ 21599927 h 23759927"/>
              <a:gd name="connsiteX29" fmla="*/ 20160003 w 23760003"/>
              <a:gd name="connsiteY29" fmla="*/ 22319927 h 23759927"/>
              <a:gd name="connsiteX30" fmla="*/ 18720001 w 23760003"/>
              <a:gd name="connsiteY30" fmla="*/ 22319927 h 23759927"/>
              <a:gd name="connsiteX31" fmla="*/ 14400003 w 23760003"/>
              <a:gd name="connsiteY31" fmla="*/ 21599927 h 23759927"/>
              <a:gd name="connsiteX32" fmla="*/ 15120001 w 23760003"/>
              <a:gd name="connsiteY32" fmla="*/ 21599927 h 23759927"/>
              <a:gd name="connsiteX33" fmla="*/ 15120001 w 23760003"/>
              <a:gd name="connsiteY33" fmla="*/ 22319927 h 23759927"/>
              <a:gd name="connsiteX34" fmla="*/ 15840003 w 23760003"/>
              <a:gd name="connsiteY34" fmla="*/ 22319927 h 23759927"/>
              <a:gd name="connsiteX35" fmla="*/ 15840003 w 23760003"/>
              <a:gd name="connsiteY35" fmla="*/ 21599927 h 23759927"/>
              <a:gd name="connsiteX36" fmla="*/ 16560003 w 23760003"/>
              <a:gd name="connsiteY36" fmla="*/ 21599927 h 23759927"/>
              <a:gd name="connsiteX37" fmla="*/ 16560003 w 23760003"/>
              <a:gd name="connsiteY37" fmla="*/ 22319927 h 23759927"/>
              <a:gd name="connsiteX38" fmla="*/ 18000003 w 23760003"/>
              <a:gd name="connsiteY38" fmla="*/ 22319927 h 23759927"/>
              <a:gd name="connsiteX39" fmla="*/ 18000003 w 23760003"/>
              <a:gd name="connsiteY39" fmla="*/ 23039925 h 23759927"/>
              <a:gd name="connsiteX40" fmla="*/ 14400003 w 23760003"/>
              <a:gd name="connsiteY40" fmla="*/ 23039925 h 23759927"/>
              <a:gd name="connsiteX41" fmla="*/ 14400003 w 23760003"/>
              <a:gd name="connsiteY41" fmla="*/ 22319927 h 23759927"/>
              <a:gd name="connsiteX42" fmla="*/ 12960001 w 23760003"/>
              <a:gd name="connsiteY42" fmla="*/ 21599927 h 23759927"/>
              <a:gd name="connsiteX43" fmla="*/ 13680001 w 23760003"/>
              <a:gd name="connsiteY43" fmla="*/ 21599927 h 23759927"/>
              <a:gd name="connsiteX44" fmla="*/ 13680001 w 23760003"/>
              <a:gd name="connsiteY44" fmla="*/ 23759927 h 23759927"/>
              <a:gd name="connsiteX45" fmla="*/ 12960001 w 23760003"/>
              <a:gd name="connsiteY45" fmla="*/ 23759927 h 23759927"/>
              <a:gd name="connsiteX46" fmla="*/ 10800001 w 23760003"/>
              <a:gd name="connsiteY46" fmla="*/ 21599927 h 23759927"/>
              <a:gd name="connsiteX47" fmla="*/ 12240002 w 23760003"/>
              <a:gd name="connsiteY47" fmla="*/ 21599927 h 23759927"/>
              <a:gd name="connsiteX48" fmla="*/ 12240002 w 23760003"/>
              <a:gd name="connsiteY48" fmla="*/ 22319927 h 23759927"/>
              <a:gd name="connsiteX49" fmla="*/ 11520001 w 23760003"/>
              <a:gd name="connsiteY49" fmla="*/ 22319927 h 23759927"/>
              <a:gd name="connsiteX50" fmla="*/ 11520001 w 23760003"/>
              <a:gd name="connsiteY50" fmla="*/ 23039925 h 23759927"/>
              <a:gd name="connsiteX51" fmla="*/ 10800001 w 23760003"/>
              <a:gd name="connsiteY51" fmla="*/ 23039925 h 23759927"/>
              <a:gd name="connsiteX52" fmla="*/ 10800001 w 23760003"/>
              <a:gd name="connsiteY52" fmla="*/ 22319927 h 23759927"/>
              <a:gd name="connsiteX53" fmla="*/ 5760002 w 23760003"/>
              <a:gd name="connsiteY53" fmla="*/ 21599927 h 23759927"/>
              <a:gd name="connsiteX54" fmla="*/ 7920002 w 23760003"/>
              <a:gd name="connsiteY54" fmla="*/ 21599927 h 23759927"/>
              <a:gd name="connsiteX55" fmla="*/ 7920002 w 23760003"/>
              <a:gd name="connsiteY55" fmla="*/ 22319927 h 23759927"/>
              <a:gd name="connsiteX56" fmla="*/ 6480003 w 23760003"/>
              <a:gd name="connsiteY56" fmla="*/ 22319927 h 23759927"/>
              <a:gd name="connsiteX57" fmla="*/ 6480003 w 23760003"/>
              <a:gd name="connsiteY57" fmla="*/ 23039925 h 23759927"/>
              <a:gd name="connsiteX58" fmla="*/ 5760002 w 23760003"/>
              <a:gd name="connsiteY58" fmla="*/ 23039925 h 23759927"/>
              <a:gd name="connsiteX59" fmla="*/ 5760002 w 23760003"/>
              <a:gd name="connsiteY59" fmla="*/ 22319927 h 23759927"/>
              <a:gd name="connsiteX60" fmla="*/ 13680001 w 23760003"/>
              <a:gd name="connsiteY60" fmla="*/ 20159927 h 23759927"/>
              <a:gd name="connsiteX61" fmla="*/ 14399999 w 23760003"/>
              <a:gd name="connsiteY61" fmla="*/ 20159927 h 23759927"/>
              <a:gd name="connsiteX62" fmla="*/ 14399999 w 23760003"/>
              <a:gd name="connsiteY62" fmla="*/ 20879925 h 23759927"/>
              <a:gd name="connsiteX63" fmla="*/ 15120001 w 23760003"/>
              <a:gd name="connsiteY63" fmla="*/ 20879925 h 23759927"/>
              <a:gd name="connsiteX64" fmla="*/ 15120001 w 23760003"/>
              <a:gd name="connsiteY64" fmla="*/ 21599925 h 23759927"/>
              <a:gd name="connsiteX65" fmla="*/ 13680001 w 23760003"/>
              <a:gd name="connsiteY65" fmla="*/ 21599925 h 23759927"/>
              <a:gd name="connsiteX66" fmla="*/ 13680001 w 23760003"/>
              <a:gd name="connsiteY66" fmla="*/ 20879925 h 23759927"/>
              <a:gd name="connsiteX67" fmla="*/ 1440010 w 23760003"/>
              <a:gd name="connsiteY67" fmla="*/ 20159927 h 23759927"/>
              <a:gd name="connsiteX68" fmla="*/ 3600011 w 23760003"/>
              <a:gd name="connsiteY68" fmla="*/ 20159927 h 23759927"/>
              <a:gd name="connsiteX69" fmla="*/ 3600011 w 23760003"/>
              <a:gd name="connsiteY69" fmla="*/ 22319927 h 23759927"/>
              <a:gd name="connsiteX70" fmla="*/ 1440010 w 23760003"/>
              <a:gd name="connsiteY70" fmla="*/ 22319927 h 23759927"/>
              <a:gd name="connsiteX71" fmla="*/ 14400003 w 23760003"/>
              <a:gd name="connsiteY71" fmla="*/ 19439927 h 23759927"/>
              <a:gd name="connsiteX72" fmla="*/ 15840003 w 23760003"/>
              <a:gd name="connsiteY72" fmla="*/ 19439927 h 23759927"/>
              <a:gd name="connsiteX73" fmla="*/ 15840003 w 23760003"/>
              <a:gd name="connsiteY73" fmla="*/ 20159927 h 23759927"/>
              <a:gd name="connsiteX74" fmla="*/ 14400003 w 23760003"/>
              <a:gd name="connsiteY74" fmla="*/ 20159927 h 23759927"/>
              <a:gd name="connsiteX75" fmla="*/ 10080007 w 23760003"/>
              <a:gd name="connsiteY75" fmla="*/ 19439927 h 23759927"/>
              <a:gd name="connsiteX76" fmla="*/ 11520004 w 23760003"/>
              <a:gd name="connsiteY76" fmla="*/ 19439927 h 23759927"/>
              <a:gd name="connsiteX77" fmla="*/ 11520004 w 23760003"/>
              <a:gd name="connsiteY77" fmla="*/ 20159927 h 23759927"/>
              <a:gd name="connsiteX78" fmla="*/ 10800004 w 23760003"/>
              <a:gd name="connsiteY78" fmla="*/ 20159927 h 23759927"/>
              <a:gd name="connsiteX79" fmla="*/ 10800004 w 23760003"/>
              <a:gd name="connsiteY79" fmla="*/ 20879925 h 23759927"/>
              <a:gd name="connsiteX80" fmla="*/ 11520004 w 23760003"/>
              <a:gd name="connsiteY80" fmla="*/ 20879925 h 23759927"/>
              <a:gd name="connsiteX81" fmla="*/ 11520004 w 23760003"/>
              <a:gd name="connsiteY81" fmla="*/ 20159927 h 23759927"/>
              <a:gd name="connsiteX82" fmla="*/ 12240002 w 23760003"/>
              <a:gd name="connsiteY82" fmla="*/ 20159927 h 23759927"/>
              <a:gd name="connsiteX83" fmla="*/ 12240002 w 23760003"/>
              <a:gd name="connsiteY83" fmla="*/ 19439927 h 23759927"/>
              <a:gd name="connsiteX84" fmla="*/ 12960001 w 23760003"/>
              <a:gd name="connsiteY84" fmla="*/ 19439927 h 23759927"/>
              <a:gd name="connsiteX85" fmla="*/ 12960001 w 23760003"/>
              <a:gd name="connsiteY85" fmla="*/ 20159927 h 23759927"/>
              <a:gd name="connsiteX86" fmla="*/ 12960001 w 23760003"/>
              <a:gd name="connsiteY86" fmla="*/ 20879925 h 23759927"/>
              <a:gd name="connsiteX87" fmla="*/ 12240002 w 23760003"/>
              <a:gd name="connsiteY87" fmla="*/ 20879925 h 23759927"/>
              <a:gd name="connsiteX88" fmla="*/ 12240002 w 23760003"/>
              <a:gd name="connsiteY88" fmla="*/ 21599925 h 23759927"/>
              <a:gd name="connsiteX89" fmla="*/ 10080003 w 23760003"/>
              <a:gd name="connsiteY89" fmla="*/ 21599925 h 23759927"/>
              <a:gd name="connsiteX90" fmla="*/ 10080003 w 23760003"/>
              <a:gd name="connsiteY90" fmla="*/ 20879925 h 23759927"/>
              <a:gd name="connsiteX91" fmla="*/ 10080007 w 23760003"/>
              <a:gd name="connsiteY91" fmla="*/ 20879925 h 23759927"/>
              <a:gd name="connsiteX92" fmla="*/ 10080007 w 23760003"/>
              <a:gd name="connsiteY92" fmla="*/ 20159927 h 23759927"/>
              <a:gd name="connsiteX93" fmla="*/ 12 w 23760003"/>
              <a:gd name="connsiteY93" fmla="*/ 19439927 h 23759927"/>
              <a:gd name="connsiteX94" fmla="*/ 720011 w 23760003"/>
              <a:gd name="connsiteY94" fmla="*/ 19439927 h 23759927"/>
              <a:gd name="connsiteX95" fmla="*/ 720011 w 23760003"/>
              <a:gd name="connsiteY95" fmla="*/ 23039927 h 23759927"/>
              <a:gd name="connsiteX96" fmla="*/ 4320015 w 23760003"/>
              <a:gd name="connsiteY96" fmla="*/ 23039927 h 23759927"/>
              <a:gd name="connsiteX97" fmla="*/ 4320015 w 23760003"/>
              <a:gd name="connsiteY97" fmla="*/ 19439927 h 23759927"/>
              <a:gd name="connsiteX98" fmla="*/ 5040014 w 23760003"/>
              <a:gd name="connsiteY98" fmla="*/ 19439927 h 23759927"/>
              <a:gd name="connsiteX99" fmla="*/ 5040014 w 23760003"/>
              <a:gd name="connsiteY99" fmla="*/ 23039927 h 23759927"/>
              <a:gd name="connsiteX100" fmla="*/ 5040001 w 23760003"/>
              <a:gd name="connsiteY100" fmla="*/ 23039927 h 23759927"/>
              <a:gd name="connsiteX101" fmla="*/ 5040001 w 23760003"/>
              <a:gd name="connsiteY101" fmla="*/ 23759927 h 23759927"/>
              <a:gd name="connsiteX102" fmla="*/ 0 w 23760003"/>
              <a:gd name="connsiteY102" fmla="*/ 23759927 h 23759927"/>
              <a:gd name="connsiteX103" fmla="*/ 0 w 23760003"/>
              <a:gd name="connsiteY103" fmla="*/ 23039927 h 23759927"/>
              <a:gd name="connsiteX104" fmla="*/ 12 w 23760003"/>
              <a:gd name="connsiteY104" fmla="*/ 23039927 h 23759927"/>
              <a:gd name="connsiteX105" fmla="*/ 18720001 w 23760003"/>
              <a:gd name="connsiteY105" fmla="*/ 18719925 h 23759927"/>
              <a:gd name="connsiteX106" fmla="*/ 19440001 w 23760003"/>
              <a:gd name="connsiteY106" fmla="*/ 18719925 h 23759927"/>
              <a:gd name="connsiteX107" fmla="*/ 19440001 w 23760003"/>
              <a:gd name="connsiteY107" fmla="*/ 19439925 h 23759927"/>
              <a:gd name="connsiteX108" fmla="*/ 18720001 w 23760003"/>
              <a:gd name="connsiteY108" fmla="*/ 19439925 h 23759927"/>
              <a:gd name="connsiteX109" fmla="*/ 11520004 w 23760003"/>
              <a:gd name="connsiteY109" fmla="*/ 18719925 h 23759927"/>
              <a:gd name="connsiteX110" fmla="*/ 12240000 w 23760003"/>
              <a:gd name="connsiteY110" fmla="*/ 18719925 h 23759927"/>
              <a:gd name="connsiteX111" fmla="*/ 12240000 w 23760003"/>
              <a:gd name="connsiteY111" fmla="*/ 19439925 h 23759927"/>
              <a:gd name="connsiteX112" fmla="*/ 11520004 w 23760003"/>
              <a:gd name="connsiteY112" fmla="*/ 19439925 h 23759927"/>
              <a:gd name="connsiteX113" fmla="*/ 14 w 23760003"/>
              <a:gd name="connsiteY113" fmla="*/ 18719925 h 23759927"/>
              <a:gd name="connsiteX114" fmla="*/ 5040014 w 23760003"/>
              <a:gd name="connsiteY114" fmla="*/ 18719925 h 23759927"/>
              <a:gd name="connsiteX115" fmla="*/ 5040014 w 23760003"/>
              <a:gd name="connsiteY115" fmla="*/ 19439925 h 23759927"/>
              <a:gd name="connsiteX116" fmla="*/ 14 w 23760003"/>
              <a:gd name="connsiteY116" fmla="*/ 19439925 h 23759927"/>
              <a:gd name="connsiteX117" fmla="*/ 23040003 w 23760003"/>
              <a:gd name="connsiteY117" fmla="*/ 17999927 h 23759927"/>
              <a:gd name="connsiteX118" fmla="*/ 23760003 w 23760003"/>
              <a:gd name="connsiteY118" fmla="*/ 17999927 h 23759927"/>
              <a:gd name="connsiteX119" fmla="*/ 23760003 w 23760003"/>
              <a:gd name="connsiteY119" fmla="*/ 18719925 h 23759927"/>
              <a:gd name="connsiteX120" fmla="*/ 23040003 w 23760003"/>
              <a:gd name="connsiteY120" fmla="*/ 18719925 h 23759927"/>
              <a:gd name="connsiteX121" fmla="*/ 21600003 w 23760003"/>
              <a:gd name="connsiteY121" fmla="*/ 17999927 h 23759927"/>
              <a:gd name="connsiteX122" fmla="*/ 22320003 w 23760003"/>
              <a:gd name="connsiteY122" fmla="*/ 17999927 h 23759927"/>
              <a:gd name="connsiteX123" fmla="*/ 22320003 w 23760003"/>
              <a:gd name="connsiteY123" fmla="*/ 18719925 h 23759927"/>
              <a:gd name="connsiteX124" fmla="*/ 23040003 w 23760003"/>
              <a:gd name="connsiteY124" fmla="*/ 18719925 h 23759927"/>
              <a:gd name="connsiteX125" fmla="*/ 23040003 w 23760003"/>
              <a:gd name="connsiteY125" fmla="*/ 19439925 h 23759927"/>
              <a:gd name="connsiteX126" fmla="*/ 21600003 w 23760003"/>
              <a:gd name="connsiteY126" fmla="*/ 19439925 h 23759927"/>
              <a:gd name="connsiteX127" fmla="*/ 21600003 w 23760003"/>
              <a:gd name="connsiteY127" fmla="*/ 18719925 h 23759927"/>
              <a:gd name="connsiteX128" fmla="*/ 20160003 w 23760003"/>
              <a:gd name="connsiteY128" fmla="*/ 17999927 h 23759927"/>
              <a:gd name="connsiteX129" fmla="*/ 20880001 w 23760003"/>
              <a:gd name="connsiteY129" fmla="*/ 17999927 h 23759927"/>
              <a:gd name="connsiteX130" fmla="*/ 20880001 w 23760003"/>
              <a:gd name="connsiteY130" fmla="*/ 19439927 h 23759927"/>
              <a:gd name="connsiteX131" fmla="*/ 23760003 w 23760003"/>
              <a:gd name="connsiteY131" fmla="*/ 19439927 h 23759927"/>
              <a:gd name="connsiteX132" fmla="*/ 23760003 w 23760003"/>
              <a:gd name="connsiteY132" fmla="*/ 20159927 h 23759927"/>
              <a:gd name="connsiteX133" fmla="*/ 23760001 w 23760003"/>
              <a:gd name="connsiteY133" fmla="*/ 20159927 h 23759927"/>
              <a:gd name="connsiteX134" fmla="*/ 23760001 w 23760003"/>
              <a:gd name="connsiteY134" fmla="*/ 20879925 h 23759927"/>
              <a:gd name="connsiteX135" fmla="*/ 23760003 w 23760003"/>
              <a:gd name="connsiteY135" fmla="*/ 20879925 h 23759927"/>
              <a:gd name="connsiteX136" fmla="*/ 23760003 w 23760003"/>
              <a:gd name="connsiteY136" fmla="*/ 21599925 h 23759927"/>
              <a:gd name="connsiteX137" fmla="*/ 23040003 w 23760003"/>
              <a:gd name="connsiteY137" fmla="*/ 21599925 h 23759927"/>
              <a:gd name="connsiteX138" fmla="*/ 23040003 w 23760003"/>
              <a:gd name="connsiteY138" fmla="*/ 20879925 h 23759927"/>
              <a:gd name="connsiteX139" fmla="*/ 22320003 w 23760003"/>
              <a:gd name="connsiteY139" fmla="*/ 20879925 h 23759927"/>
              <a:gd name="connsiteX140" fmla="*/ 22320003 w 23760003"/>
              <a:gd name="connsiteY140" fmla="*/ 20159927 h 23759927"/>
              <a:gd name="connsiteX141" fmla="*/ 21600003 w 23760003"/>
              <a:gd name="connsiteY141" fmla="*/ 20159927 h 23759927"/>
              <a:gd name="connsiteX142" fmla="*/ 21600003 w 23760003"/>
              <a:gd name="connsiteY142" fmla="*/ 20879925 h 23759927"/>
              <a:gd name="connsiteX143" fmla="*/ 20880001 w 23760003"/>
              <a:gd name="connsiteY143" fmla="*/ 20879925 h 23759927"/>
              <a:gd name="connsiteX144" fmla="*/ 20880001 w 23760003"/>
              <a:gd name="connsiteY144" fmla="*/ 21599925 h 23759927"/>
              <a:gd name="connsiteX145" fmla="*/ 20160003 w 23760003"/>
              <a:gd name="connsiteY145" fmla="*/ 21599925 h 23759927"/>
              <a:gd name="connsiteX146" fmla="*/ 20160003 w 23760003"/>
              <a:gd name="connsiteY146" fmla="*/ 20879925 h 23759927"/>
              <a:gd name="connsiteX147" fmla="*/ 18720003 w 23760003"/>
              <a:gd name="connsiteY147" fmla="*/ 20879925 h 23759927"/>
              <a:gd name="connsiteX148" fmla="*/ 18720003 w 23760003"/>
              <a:gd name="connsiteY148" fmla="*/ 21599925 h 23759927"/>
              <a:gd name="connsiteX149" fmla="*/ 15840003 w 23760003"/>
              <a:gd name="connsiteY149" fmla="*/ 21599925 h 23759927"/>
              <a:gd name="connsiteX150" fmla="*/ 15840003 w 23760003"/>
              <a:gd name="connsiteY150" fmla="*/ 20879925 h 23759927"/>
              <a:gd name="connsiteX151" fmla="*/ 15840003 w 23760003"/>
              <a:gd name="connsiteY151" fmla="*/ 20159927 h 23759927"/>
              <a:gd name="connsiteX152" fmla="*/ 16560003 w 23760003"/>
              <a:gd name="connsiteY152" fmla="*/ 20159927 h 23759927"/>
              <a:gd name="connsiteX153" fmla="*/ 16560003 w 23760003"/>
              <a:gd name="connsiteY153" fmla="*/ 20879925 h 23759927"/>
              <a:gd name="connsiteX154" fmla="*/ 17280001 w 23760003"/>
              <a:gd name="connsiteY154" fmla="*/ 20879925 h 23759927"/>
              <a:gd name="connsiteX155" fmla="*/ 17280001 w 23760003"/>
              <a:gd name="connsiteY155" fmla="*/ 20159927 h 23759927"/>
              <a:gd name="connsiteX156" fmla="*/ 16560003 w 23760003"/>
              <a:gd name="connsiteY156" fmla="*/ 20159927 h 23759927"/>
              <a:gd name="connsiteX157" fmla="*/ 16560003 w 23760003"/>
              <a:gd name="connsiteY157" fmla="*/ 19439927 h 23759927"/>
              <a:gd name="connsiteX158" fmla="*/ 18000003 w 23760003"/>
              <a:gd name="connsiteY158" fmla="*/ 19439927 h 23759927"/>
              <a:gd name="connsiteX159" fmla="*/ 18000003 w 23760003"/>
              <a:gd name="connsiteY159" fmla="*/ 20159927 h 23759927"/>
              <a:gd name="connsiteX160" fmla="*/ 20160003 w 23760003"/>
              <a:gd name="connsiteY160" fmla="*/ 20159927 h 23759927"/>
              <a:gd name="connsiteX161" fmla="*/ 20160003 w 23760003"/>
              <a:gd name="connsiteY161" fmla="*/ 19439927 h 23759927"/>
              <a:gd name="connsiteX162" fmla="*/ 15120001 w 23760003"/>
              <a:gd name="connsiteY162" fmla="*/ 17999927 h 23759927"/>
              <a:gd name="connsiteX163" fmla="*/ 15840001 w 23760003"/>
              <a:gd name="connsiteY163" fmla="*/ 17999927 h 23759927"/>
              <a:gd name="connsiteX164" fmla="*/ 15840001 w 23760003"/>
              <a:gd name="connsiteY164" fmla="*/ 18719925 h 23759927"/>
              <a:gd name="connsiteX165" fmla="*/ 16560003 w 23760003"/>
              <a:gd name="connsiteY165" fmla="*/ 18719925 h 23759927"/>
              <a:gd name="connsiteX166" fmla="*/ 16560003 w 23760003"/>
              <a:gd name="connsiteY166" fmla="*/ 17999927 h 23759927"/>
              <a:gd name="connsiteX167" fmla="*/ 18000003 w 23760003"/>
              <a:gd name="connsiteY167" fmla="*/ 17999927 h 23759927"/>
              <a:gd name="connsiteX168" fmla="*/ 18000003 w 23760003"/>
              <a:gd name="connsiteY168" fmla="*/ 18719925 h 23759927"/>
              <a:gd name="connsiteX169" fmla="*/ 18000003 w 23760003"/>
              <a:gd name="connsiteY169" fmla="*/ 19439925 h 23759927"/>
              <a:gd name="connsiteX170" fmla="*/ 14400003 w 23760003"/>
              <a:gd name="connsiteY170" fmla="*/ 19439925 h 23759927"/>
              <a:gd name="connsiteX171" fmla="*/ 14400003 w 23760003"/>
              <a:gd name="connsiteY171" fmla="*/ 18719925 h 23759927"/>
              <a:gd name="connsiteX172" fmla="*/ 15120001 w 23760003"/>
              <a:gd name="connsiteY172" fmla="*/ 18719925 h 23759927"/>
              <a:gd name="connsiteX173" fmla="*/ 8640002 w 23760003"/>
              <a:gd name="connsiteY173" fmla="*/ 17999927 h 23759927"/>
              <a:gd name="connsiteX174" fmla="*/ 10080007 w 23760003"/>
              <a:gd name="connsiteY174" fmla="*/ 17999927 h 23759927"/>
              <a:gd name="connsiteX175" fmla="*/ 10080007 w 23760003"/>
              <a:gd name="connsiteY175" fmla="*/ 18719925 h 23759927"/>
              <a:gd name="connsiteX176" fmla="*/ 9360005 w 23760003"/>
              <a:gd name="connsiteY176" fmla="*/ 18719925 h 23759927"/>
              <a:gd name="connsiteX177" fmla="*/ 9360005 w 23760003"/>
              <a:gd name="connsiteY177" fmla="*/ 19439925 h 23759927"/>
              <a:gd name="connsiteX178" fmla="*/ 8640002 w 23760003"/>
              <a:gd name="connsiteY178" fmla="*/ 19439925 h 23759927"/>
              <a:gd name="connsiteX179" fmla="*/ 8640002 w 23760003"/>
              <a:gd name="connsiteY179" fmla="*/ 18719925 h 23759927"/>
              <a:gd name="connsiteX180" fmla="*/ 5760005 w 23760003"/>
              <a:gd name="connsiteY180" fmla="*/ 17999927 h 23759927"/>
              <a:gd name="connsiteX181" fmla="*/ 7200004 w 23760003"/>
              <a:gd name="connsiteY181" fmla="*/ 17999927 h 23759927"/>
              <a:gd name="connsiteX182" fmla="*/ 7200004 w 23760003"/>
              <a:gd name="connsiteY182" fmla="*/ 19439927 h 23759927"/>
              <a:gd name="connsiteX183" fmla="*/ 6480007 w 23760003"/>
              <a:gd name="connsiteY183" fmla="*/ 19439927 h 23759927"/>
              <a:gd name="connsiteX184" fmla="*/ 6480007 w 23760003"/>
              <a:gd name="connsiteY184" fmla="*/ 20159927 h 23759927"/>
              <a:gd name="connsiteX185" fmla="*/ 9360004 w 23760003"/>
              <a:gd name="connsiteY185" fmla="*/ 20159927 h 23759927"/>
              <a:gd name="connsiteX186" fmla="*/ 9360004 w 23760003"/>
              <a:gd name="connsiteY186" fmla="*/ 20879925 h 23759927"/>
              <a:gd name="connsiteX187" fmla="*/ 9360004 w 23760003"/>
              <a:gd name="connsiteY187" fmla="*/ 21599925 h 23759927"/>
              <a:gd name="connsiteX188" fmla="*/ 7920002 w 23760003"/>
              <a:gd name="connsiteY188" fmla="*/ 21599925 h 23759927"/>
              <a:gd name="connsiteX189" fmla="*/ 7920002 w 23760003"/>
              <a:gd name="connsiteY189" fmla="*/ 20879925 h 23759927"/>
              <a:gd name="connsiteX190" fmla="*/ 7200001 w 23760003"/>
              <a:gd name="connsiteY190" fmla="*/ 20879925 h 23759927"/>
              <a:gd name="connsiteX191" fmla="*/ 7200001 w 23760003"/>
              <a:gd name="connsiteY191" fmla="*/ 21599925 h 23759927"/>
              <a:gd name="connsiteX192" fmla="*/ 5760002 w 23760003"/>
              <a:gd name="connsiteY192" fmla="*/ 21599925 h 23759927"/>
              <a:gd name="connsiteX193" fmla="*/ 5760002 w 23760003"/>
              <a:gd name="connsiteY193" fmla="*/ 20879925 h 23759927"/>
              <a:gd name="connsiteX194" fmla="*/ 5760002 w 23760003"/>
              <a:gd name="connsiteY194" fmla="*/ 20879925 h 23759927"/>
              <a:gd name="connsiteX195" fmla="*/ 5760002 w 23760003"/>
              <a:gd name="connsiteY195" fmla="*/ 20159927 h 23759927"/>
              <a:gd name="connsiteX196" fmla="*/ 5760005 w 23760003"/>
              <a:gd name="connsiteY196" fmla="*/ 20159927 h 23759927"/>
              <a:gd name="connsiteX197" fmla="*/ 5760005 w 23760003"/>
              <a:gd name="connsiteY197" fmla="*/ 19439927 h 23759927"/>
              <a:gd name="connsiteX198" fmla="*/ 13680001 w 23760003"/>
              <a:gd name="connsiteY198" fmla="*/ 17279925 h 23759927"/>
              <a:gd name="connsiteX199" fmla="*/ 14399999 w 23760003"/>
              <a:gd name="connsiteY199" fmla="*/ 17279925 h 23759927"/>
              <a:gd name="connsiteX200" fmla="*/ 14399999 w 23760003"/>
              <a:gd name="connsiteY200" fmla="*/ 17999923 h 23759927"/>
              <a:gd name="connsiteX201" fmla="*/ 13680001 w 23760003"/>
              <a:gd name="connsiteY201" fmla="*/ 17999923 h 23759927"/>
              <a:gd name="connsiteX202" fmla="*/ 17280003 w 23760003"/>
              <a:gd name="connsiteY202" fmla="*/ 16559927 h 23759927"/>
              <a:gd name="connsiteX203" fmla="*/ 17280003 w 23760003"/>
              <a:gd name="connsiteY203" fmla="*/ 17279925 h 23759927"/>
              <a:gd name="connsiteX204" fmla="*/ 18000003 w 23760003"/>
              <a:gd name="connsiteY204" fmla="*/ 17279925 h 23759927"/>
              <a:gd name="connsiteX205" fmla="*/ 18000003 w 23760003"/>
              <a:gd name="connsiteY205" fmla="*/ 16559927 h 23759927"/>
              <a:gd name="connsiteX206" fmla="*/ 12240002 w 23760003"/>
              <a:gd name="connsiteY206" fmla="*/ 16559927 h 23759927"/>
              <a:gd name="connsiteX207" fmla="*/ 12960001 w 23760003"/>
              <a:gd name="connsiteY207" fmla="*/ 16559927 h 23759927"/>
              <a:gd name="connsiteX208" fmla="*/ 12960001 w 23760003"/>
              <a:gd name="connsiteY208" fmla="*/ 17999927 h 23759927"/>
              <a:gd name="connsiteX209" fmla="*/ 14400003 w 23760003"/>
              <a:gd name="connsiteY209" fmla="*/ 17999927 h 23759927"/>
              <a:gd name="connsiteX210" fmla="*/ 14400003 w 23760003"/>
              <a:gd name="connsiteY210" fmla="*/ 18719925 h 23759927"/>
              <a:gd name="connsiteX211" fmla="*/ 13680001 w 23760003"/>
              <a:gd name="connsiteY211" fmla="*/ 18719925 h 23759927"/>
              <a:gd name="connsiteX212" fmla="*/ 13680001 w 23760003"/>
              <a:gd name="connsiteY212" fmla="*/ 19439925 h 23759927"/>
              <a:gd name="connsiteX213" fmla="*/ 12960001 w 23760003"/>
              <a:gd name="connsiteY213" fmla="*/ 19439925 h 23759927"/>
              <a:gd name="connsiteX214" fmla="*/ 12960001 w 23760003"/>
              <a:gd name="connsiteY214" fmla="*/ 18719925 h 23759927"/>
              <a:gd name="connsiteX215" fmla="*/ 12240002 w 23760003"/>
              <a:gd name="connsiteY215" fmla="*/ 18719925 h 23759927"/>
              <a:gd name="connsiteX216" fmla="*/ 12240002 w 23760003"/>
              <a:gd name="connsiteY216" fmla="*/ 17999927 h 23759927"/>
              <a:gd name="connsiteX217" fmla="*/ 20880001 w 23760003"/>
              <a:gd name="connsiteY217" fmla="*/ 15839927 h 23759927"/>
              <a:gd name="connsiteX218" fmla="*/ 21600001 w 23760003"/>
              <a:gd name="connsiteY218" fmla="*/ 15839927 h 23759927"/>
              <a:gd name="connsiteX219" fmla="*/ 21600001 w 23760003"/>
              <a:gd name="connsiteY219" fmla="*/ 16559927 h 23759927"/>
              <a:gd name="connsiteX220" fmla="*/ 22320003 w 23760003"/>
              <a:gd name="connsiteY220" fmla="*/ 16559927 h 23759927"/>
              <a:gd name="connsiteX221" fmla="*/ 22320003 w 23760003"/>
              <a:gd name="connsiteY221" fmla="*/ 15839927 h 23759927"/>
              <a:gd name="connsiteX222" fmla="*/ 23040001 w 23760003"/>
              <a:gd name="connsiteY222" fmla="*/ 15839927 h 23759927"/>
              <a:gd name="connsiteX223" fmla="*/ 23040001 w 23760003"/>
              <a:gd name="connsiteY223" fmla="*/ 16559927 h 23759927"/>
              <a:gd name="connsiteX224" fmla="*/ 23040001 w 23760003"/>
              <a:gd name="connsiteY224" fmla="*/ 17279925 h 23759927"/>
              <a:gd name="connsiteX225" fmla="*/ 23760001 w 23760003"/>
              <a:gd name="connsiteY225" fmla="*/ 17279925 h 23759927"/>
              <a:gd name="connsiteX226" fmla="*/ 23760001 w 23760003"/>
              <a:gd name="connsiteY226" fmla="*/ 17999923 h 23759927"/>
              <a:gd name="connsiteX227" fmla="*/ 22320003 w 23760003"/>
              <a:gd name="connsiteY227" fmla="*/ 17999923 h 23759927"/>
              <a:gd name="connsiteX228" fmla="*/ 22320003 w 23760003"/>
              <a:gd name="connsiteY228" fmla="*/ 17279925 h 23759927"/>
              <a:gd name="connsiteX229" fmla="*/ 20880001 w 23760003"/>
              <a:gd name="connsiteY229" fmla="*/ 17279925 h 23759927"/>
              <a:gd name="connsiteX230" fmla="*/ 20880001 w 23760003"/>
              <a:gd name="connsiteY230" fmla="*/ 16559927 h 23759927"/>
              <a:gd name="connsiteX231" fmla="*/ 14400003 w 23760003"/>
              <a:gd name="connsiteY231" fmla="*/ 15839927 h 23759927"/>
              <a:gd name="connsiteX232" fmla="*/ 15120001 w 23760003"/>
              <a:gd name="connsiteY232" fmla="*/ 15839927 h 23759927"/>
              <a:gd name="connsiteX233" fmla="*/ 15120001 w 23760003"/>
              <a:gd name="connsiteY233" fmla="*/ 16559927 h 23759927"/>
              <a:gd name="connsiteX234" fmla="*/ 17280001 w 23760003"/>
              <a:gd name="connsiteY234" fmla="*/ 16559927 h 23759927"/>
              <a:gd name="connsiteX235" fmla="*/ 17280001 w 23760003"/>
              <a:gd name="connsiteY235" fmla="*/ 15839927 h 23759927"/>
              <a:gd name="connsiteX236" fmla="*/ 18720001 w 23760003"/>
              <a:gd name="connsiteY236" fmla="*/ 15839927 h 23759927"/>
              <a:gd name="connsiteX237" fmla="*/ 18720001 w 23760003"/>
              <a:gd name="connsiteY237" fmla="*/ 16559927 h 23759927"/>
              <a:gd name="connsiteX238" fmla="*/ 20160003 w 23760003"/>
              <a:gd name="connsiteY238" fmla="*/ 16559927 h 23759927"/>
              <a:gd name="connsiteX239" fmla="*/ 20160003 w 23760003"/>
              <a:gd name="connsiteY239" fmla="*/ 17279925 h 23759927"/>
              <a:gd name="connsiteX240" fmla="*/ 20880001 w 23760003"/>
              <a:gd name="connsiteY240" fmla="*/ 17279925 h 23759927"/>
              <a:gd name="connsiteX241" fmla="*/ 20880001 w 23760003"/>
              <a:gd name="connsiteY241" fmla="*/ 17999923 h 23759927"/>
              <a:gd name="connsiteX242" fmla="*/ 17280001 w 23760003"/>
              <a:gd name="connsiteY242" fmla="*/ 17999923 h 23759927"/>
              <a:gd name="connsiteX243" fmla="*/ 17280001 w 23760003"/>
              <a:gd name="connsiteY243" fmla="*/ 17279925 h 23759927"/>
              <a:gd name="connsiteX244" fmla="*/ 16560003 w 23760003"/>
              <a:gd name="connsiteY244" fmla="*/ 17279925 h 23759927"/>
              <a:gd name="connsiteX245" fmla="*/ 16560003 w 23760003"/>
              <a:gd name="connsiteY245" fmla="*/ 17999923 h 23759927"/>
              <a:gd name="connsiteX246" fmla="*/ 15840003 w 23760003"/>
              <a:gd name="connsiteY246" fmla="*/ 17999923 h 23759927"/>
              <a:gd name="connsiteX247" fmla="*/ 15840003 w 23760003"/>
              <a:gd name="connsiteY247" fmla="*/ 17279925 h 23759927"/>
              <a:gd name="connsiteX248" fmla="*/ 14400003 w 23760003"/>
              <a:gd name="connsiteY248" fmla="*/ 17279925 h 23759927"/>
              <a:gd name="connsiteX249" fmla="*/ 14400003 w 23760003"/>
              <a:gd name="connsiteY249" fmla="*/ 16559927 h 23759927"/>
              <a:gd name="connsiteX250" fmla="*/ 10080012 w 23760003"/>
              <a:gd name="connsiteY250" fmla="*/ 15839927 h 23759927"/>
              <a:gd name="connsiteX251" fmla="*/ 12240002 w 23760003"/>
              <a:gd name="connsiteY251" fmla="*/ 15839927 h 23759927"/>
              <a:gd name="connsiteX252" fmla="*/ 12240002 w 23760003"/>
              <a:gd name="connsiteY252" fmla="*/ 16559927 h 23759927"/>
              <a:gd name="connsiteX253" fmla="*/ 10800007 w 23760003"/>
              <a:gd name="connsiteY253" fmla="*/ 16559927 h 23759927"/>
              <a:gd name="connsiteX254" fmla="*/ 10800007 w 23760003"/>
              <a:gd name="connsiteY254" fmla="*/ 17279925 h 23759927"/>
              <a:gd name="connsiteX255" fmla="*/ 11520004 w 23760003"/>
              <a:gd name="connsiteY255" fmla="*/ 17279925 h 23759927"/>
              <a:gd name="connsiteX256" fmla="*/ 11520004 w 23760003"/>
              <a:gd name="connsiteY256" fmla="*/ 17999923 h 23759927"/>
              <a:gd name="connsiteX257" fmla="*/ 10080007 w 23760003"/>
              <a:gd name="connsiteY257" fmla="*/ 17999923 h 23759927"/>
              <a:gd name="connsiteX258" fmla="*/ 10080007 w 23760003"/>
              <a:gd name="connsiteY258" fmla="*/ 17279925 h 23759927"/>
              <a:gd name="connsiteX259" fmla="*/ 10080007 w 23760003"/>
              <a:gd name="connsiteY259" fmla="*/ 16559927 h 23759927"/>
              <a:gd name="connsiteX260" fmla="*/ 10080012 w 23760003"/>
              <a:gd name="connsiteY260" fmla="*/ 16559927 h 23759927"/>
              <a:gd name="connsiteX261" fmla="*/ 2880031 w 23760003"/>
              <a:gd name="connsiteY261" fmla="*/ 15839927 h 23759927"/>
              <a:gd name="connsiteX262" fmla="*/ 5040029 w 23760003"/>
              <a:gd name="connsiteY262" fmla="*/ 15839927 h 23759927"/>
              <a:gd name="connsiteX263" fmla="*/ 5040029 w 23760003"/>
              <a:gd name="connsiteY263" fmla="*/ 16559927 h 23759927"/>
              <a:gd name="connsiteX264" fmla="*/ 5760005 w 23760003"/>
              <a:gd name="connsiteY264" fmla="*/ 16559927 h 23759927"/>
              <a:gd name="connsiteX265" fmla="*/ 5760005 w 23760003"/>
              <a:gd name="connsiteY265" fmla="*/ 15839927 h 23759927"/>
              <a:gd name="connsiteX266" fmla="*/ 7920008 w 23760003"/>
              <a:gd name="connsiteY266" fmla="*/ 15839927 h 23759927"/>
              <a:gd name="connsiteX267" fmla="*/ 7920008 w 23760003"/>
              <a:gd name="connsiteY267" fmla="*/ 16559927 h 23759927"/>
              <a:gd name="connsiteX268" fmla="*/ 9360011 w 23760003"/>
              <a:gd name="connsiteY268" fmla="*/ 16559927 h 23759927"/>
              <a:gd name="connsiteX269" fmla="*/ 9360011 w 23760003"/>
              <a:gd name="connsiteY269" fmla="*/ 17279925 h 23759927"/>
              <a:gd name="connsiteX270" fmla="*/ 7920006 w 23760003"/>
              <a:gd name="connsiteY270" fmla="*/ 17279925 h 23759927"/>
              <a:gd name="connsiteX271" fmla="*/ 7920006 w 23760003"/>
              <a:gd name="connsiteY271" fmla="*/ 16559927 h 23759927"/>
              <a:gd name="connsiteX272" fmla="*/ 6480010 w 23760003"/>
              <a:gd name="connsiteY272" fmla="*/ 16559927 h 23759927"/>
              <a:gd name="connsiteX273" fmla="*/ 6480010 w 23760003"/>
              <a:gd name="connsiteY273" fmla="*/ 17279925 h 23759927"/>
              <a:gd name="connsiteX274" fmla="*/ 6480007 w 23760003"/>
              <a:gd name="connsiteY274" fmla="*/ 17279925 h 23759927"/>
              <a:gd name="connsiteX275" fmla="*/ 6480007 w 23760003"/>
              <a:gd name="connsiteY275" fmla="*/ 17999923 h 23759927"/>
              <a:gd name="connsiteX276" fmla="*/ 5760005 w 23760003"/>
              <a:gd name="connsiteY276" fmla="*/ 17999923 h 23759927"/>
              <a:gd name="connsiteX277" fmla="*/ 5760005 w 23760003"/>
              <a:gd name="connsiteY277" fmla="*/ 17279925 h 23759927"/>
              <a:gd name="connsiteX278" fmla="*/ 5040022 w 23760003"/>
              <a:gd name="connsiteY278" fmla="*/ 17279925 h 23759927"/>
              <a:gd name="connsiteX279" fmla="*/ 5040022 w 23760003"/>
              <a:gd name="connsiteY279" fmla="*/ 16559927 h 23759927"/>
              <a:gd name="connsiteX280" fmla="*/ 4320028 w 23760003"/>
              <a:gd name="connsiteY280" fmla="*/ 16559927 h 23759927"/>
              <a:gd name="connsiteX281" fmla="*/ 4320028 w 23760003"/>
              <a:gd name="connsiteY281" fmla="*/ 17279925 h 23759927"/>
              <a:gd name="connsiteX282" fmla="*/ 5040022 w 23760003"/>
              <a:gd name="connsiteY282" fmla="*/ 17279925 h 23759927"/>
              <a:gd name="connsiteX283" fmla="*/ 5040022 w 23760003"/>
              <a:gd name="connsiteY283" fmla="*/ 17999923 h 23759927"/>
              <a:gd name="connsiteX284" fmla="*/ 4320024 w 23760003"/>
              <a:gd name="connsiteY284" fmla="*/ 17999923 h 23759927"/>
              <a:gd name="connsiteX285" fmla="*/ 4320024 w 23760003"/>
              <a:gd name="connsiteY285" fmla="*/ 17279925 h 23759927"/>
              <a:gd name="connsiteX286" fmla="*/ 3600023 w 23760003"/>
              <a:gd name="connsiteY286" fmla="*/ 17279925 h 23759927"/>
              <a:gd name="connsiteX287" fmla="*/ 3600023 w 23760003"/>
              <a:gd name="connsiteY287" fmla="*/ 17999923 h 23759927"/>
              <a:gd name="connsiteX288" fmla="*/ 1440022 w 23760003"/>
              <a:gd name="connsiteY288" fmla="*/ 17999923 h 23759927"/>
              <a:gd name="connsiteX289" fmla="*/ 1440022 w 23760003"/>
              <a:gd name="connsiteY289" fmla="*/ 17279925 h 23759927"/>
              <a:gd name="connsiteX290" fmla="*/ 1440024 w 23760003"/>
              <a:gd name="connsiteY290" fmla="*/ 17279925 h 23759927"/>
              <a:gd name="connsiteX291" fmla="*/ 1440024 w 23760003"/>
              <a:gd name="connsiteY291" fmla="*/ 16559927 h 23759927"/>
              <a:gd name="connsiteX292" fmla="*/ 2880031 w 23760003"/>
              <a:gd name="connsiteY292" fmla="*/ 16559927 h 23759927"/>
              <a:gd name="connsiteX293" fmla="*/ 23040003 w 23760003"/>
              <a:gd name="connsiteY293" fmla="*/ 15119925 h 23759927"/>
              <a:gd name="connsiteX294" fmla="*/ 23760003 w 23760003"/>
              <a:gd name="connsiteY294" fmla="*/ 15119925 h 23759927"/>
              <a:gd name="connsiteX295" fmla="*/ 23760003 w 23760003"/>
              <a:gd name="connsiteY295" fmla="*/ 15839925 h 23759927"/>
              <a:gd name="connsiteX296" fmla="*/ 23040003 w 23760003"/>
              <a:gd name="connsiteY296" fmla="*/ 15839925 h 23759927"/>
              <a:gd name="connsiteX297" fmla="*/ 21600003 w 23760003"/>
              <a:gd name="connsiteY297" fmla="*/ 15119925 h 23759927"/>
              <a:gd name="connsiteX298" fmla="*/ 22320003 w 23760003"/>
              <a:gd name="connsiteY298" fmla="*/ 15119925 h 23759927"/>
              <a:gd name="connsiteX299" fmla="*/ 22320003 w 23760003"/>
              <a:gd name="connsiteY299" fmla="*/ 15839925 h 23759927"/>
              <a:gd name="connsiteX300" fmla="*/ 21600003 w 23760003"/>
              <a:gd name="connsiteY300" fmla="*/ 15839925 h 23759927"/>
              <a:gd name="connsiteX301" fmla="*/ 12960001 w 23760003"/>
              <a:gd name="connsiteY301" fmla="*/ 15119925 h 23759927"/>
              <a:gd name="connsiteX302" fmla="*/ 13680001 w 23760003"/>
              <a:gd name="connsiteY302" fmla="*/ 15119925 h 23759927"/>
              <a:gd name="connsiteX303" fmla="*/ 13680001 w 23760003"/>
              <a:gd name="connsiteY303" fmla="*/ 16559927 h 23759927"/>
              <a:gd name="connsiteX304" fmla="*/ 12960001 w 23760003"/>
              <a:gd name="connsiteY304" fmla="*/ 16559927 h 23759927"/>
              <a:gd name="connsiteX305" fmla="*/ 10800007 w 23760003"/>
              <a:gd name="connsiteY305" fmla="*/ 15119925 h 23759927"/>
              <a:gd name="connsiteX306" fmla="*/ 12240002 w 23760003"/>
              <a:gd name="connsiteY306" fmla="*/ 15119925 h 23759927"/>
              <a:gd name="connsiteX307" fmla="*/ 12240002 w 23760003"/>
              <a:gd name="connsiteY307" fmla="*/ 15839925 h 23759927"/>
              <a:gd name="connsiteX308" fmla="*/ 10800007 w 23760003"/>
              <a:gd name="connsiteY308" fmla="*/ 15839925 h 23759927"/>
              <a:gd name="connsiteX309" fmla="*/ 22320003 w 23760003"/>
              <a:gd name="connsiteY309" fmla="*/ 14399927 h 23759927"/>
              <a:gd name="connsiteX310" fmla="*/ 23040001 w 23760003"/>
              <a:gd name="connsiteY310" fmla="*/ 14399927 h 23759927"/>
              <a:gd name="connsiteX311" fmla="*/ 23040001 w 23760003"/>
              <a:gd name="connsiteY311" fmla="*/ 15119925 h 23759927"/>
              <a:gd name="connsiteX312" fmla="*/ 22320003 w 23760003"/>
              <a:gd name="connsiteY312" fmla="*/ 15119925 h 23759927"/>
              <a:gd name="connsiteX313" fmla="*/ 19440003 w 23760003"/>
              <a:gd name="connsiteY313" fmla="*/ 14399927 h 23759927"/>
              <a:gd name="connsiteX314" fmla="*/ 21600003 w 23760003"/>
              <a:gd name="connsiteY314" fmla="*/ 14399927 h 23759927"/>
              <a:gd name="connsiteX315" fmla="*/ 21600003 w 23760003"/>
              <a:gd name="connsiteY315" fmla="*/ 15119925 h 23759927"/>
              <a:gd name="connsiteX316" fmla="*/ 19440003 w 23760003"/>
              <a:gd name="connsiteY316" fmla="*/ 15119925 h 23759927"/>
              <a:gd name="connsiteX317" fmla="*/ 13680001 w 23760003"/>
              <a:gd name="connsiteY317" fmla="*/ 14399927 h 23759927"/>
              <a:gd name="connsiteX318" fmla="*/ 15120001 w 23760003"/>
              <a:gd name="connsiteY318" fmla="*/ 14399927 h 23759927"/>
              <a:gd name="connsiteX319" fmla="*/ 15120001 w 23760003"/>
              <a:gd name="connsiteY319" fmla="*/ 15119925 h 23759927"/>
              <a:gd name="connsiteX320" fmla="*/ 15840003 w 23760003"/>
              <a:gd name="connsiteY320" fmla="*/ 15119925 h 23759927"/>
              <a:gd name="connsiteX321" fmla="*/ 15840003 w 23760003"/>
              <a:gd name="connsiteY321" fmla="*/ 14399927 h 23759927"/>
              <a:gd name="connsiteX322" fmla="*/ 16560003 w 23760003"/>
              <a:gd name="connsiteY322" fmla="*/ 14399927 h 23759927"/>
              <a:gd name="connsiteX323" fmla="*/ 16560003 w 23760003"/>
              <a:gd name="connsiteY323" fmla="*/ 15119925 h 23759927"/>
              <a:gd name="connsiteX324" fmla="*/ 16560003 w 23760003"/>
              <a:gd name="connsiteY324" fmla="*/ 15839925 h 23759927"/>
              <a:gd name="connsiteX325" fmla="*/ 14400003 w 23760003"/>
              <a:gd name="connsiteY325" fmla="*/ 15839925 h 23759927"/>
              <a:gd name="connsiteX326" fmla="*/ 14400003 w 23760003"/>
              <a:gd name="connsiteY326" fmla="*/ 15119925 h 23759927"/>
              <a:gd name="connsiteX327" fmla="*/ 13680001 w 23760003"/>
              <a:gd name="connsiteY327" fmla="*/ 15119925 h 23759927"/>
              <a:gd name="connsiteX328" fmla="*/ 10080012 w 23760003"/>
              <a:gd name="connsiteY328" fmla="*/ 14399927 h 23759927"/>
              <a:gd name="connsiteX329" fmla="*/ 10800007 w 23760003"/>
              <a:gd name="connsiteY329" fmla="*/ 14399927 h 23759927"/>
              <a:gd name="connsiteX330" fmla="*/ 10800007 w 23760003"/>
              <a:gd name="connsiteY330" fmla="*/ 15119925 h 23759927"/>
              <a:gd name="connsiteX331" fmla="*/ 10080012 w 23760003"/>
              <a:gd name="connsiteY331" fmla="*/ 15119925 h 23759927"/>
              <a:gd name="connsiteX332" fmla="*/ 6480010 w 23760003"/>
              <a:gd name="connsiteY332" fmla="*/ 14399927 h 23759927"/>
              <a:gd name="connsiteX333" fmla="*/ 7920010 w 23760003"/>
              <a:gd name="connsiteY333" fmla="*/ 14399927 h 23759927"/>
              <a:gd name="connsiteX334" fmla="*/ 7920010 w 23760003"/>
              <a:gd name="connsiteY334" fmla="*/ 15119925 h 23759927"/>
              <a:gd name="connsiteX335" fmla="*/ 8640004 w 23760003"/>
              <a:gd name="connsiteY335" fmla="*/ 15119925 h 23759927"/>
              <a:gd name="connsiteX336" fmla="*/ 8640004 w 23760003"/>
              <a:gd name="connsiteY336" fmla="*/ 14399927 h 23759927"/>
              <a:gd name="connsiteX337" fmla="*/ 9360011 w 23760003"/>
              <a:gd name="connsiteY337" fmla="*/ 14399927 h 23759927"/>
              <a:gd name="connsiteX338" fmla="*/ 9360011 w 23760003"/>
              <a:gd name="connsiteY338" fmla="*/ 15119925 h 23759927"/>
              <a:gd name="connsiteX339" fmla="*/ 10080012 w 23760003"/>
              <a:gd name="connsiteY339" fmla="*/ 15119925 h 23759927"/>
              <a:gd name="connsiteX340" fmla="*/ 10080012 w 23760003"/>
              <a:gd name="connsiteY340" fmla="*/ 15839925 h 23759927"/>
              <a:gd name="connsiteX341" fmla="*/ 6480010 w 23760003"/>
              <a:gd name="connsiteY341" fmla="*/ 15839925 h 23759927"/>
              <a:gd name="connsiteX342" fmla="*/ 6480010 w 23760003"/>
              <a:gd name="connsiteY342" fmla="*/ 15119925 h 23759927"/>
              <a:gd name="connsiteX343" fmla="*/ 3600037 w 23760003"/>
              <a:gd name="connsiteY343" fmla="*/ 14399927 h 23759927"/>
              <a:gd name="connsiteX344" fmla="*/ 5040037 w 23760003"/>
              <a:gd name="connsiteY344" fmla="*/ 14399927 h 23759927"/>
              <a:gd name="connsiteX345" fmla="*/ 5040037 w 23760003"/>
              <a:gd name="connsiteY345" fmla="*/ 15119925 h 23759927"/>
              <a:gd name="connsiteX346" fmla="*/ 5760009 w 23760003"/>
              <a:gd name="connsiteY346" fmla="*/ 15119925 h 23759927"/>
              <a:gd name="connsiteX347" fmla="*/ 5760009 w 23760003"/>
              <a:gd name="connsiteY347" fmla="*/ 15839925 h 23759927"/>
              <a:gd name="connsiteX348" fmla="*/ 5040029 w 23760003"/>
              <a:gd name="connsiteY348" fmla="*/ 15839925 h 23759927"/>
              <a:gd name="connsiteX349" fmla="*/ 5040029 w 23760003"/>
              <a:gd name="connsiteY349" fmla="*/ 15119925 h 23759927"/>
              <a:gd name="connsiteX350" fmla="*/ 4320032 w 23760003"/>
              <a:gd name="connsiteY350" fmla="*/ 15119925 h 23759927"/>
              <a:gd name="connsiteX351" fmla="*/ 4320032 w 23760003"/>
              <a:gd name="connsiteY351" fmla="*/ 15839925 h 23759927"/>
              <a:gd name="connsiteX352" fmla="*/ 3600032 w 23760003"/>
              <a:gd name="connsiteY352" fmla="*/ 15839925 h 23759927"/>
              <a:gd name="connsiteX353" fmla="*/ 3600032 w 23760003"/>
              <a:gd name="connsiteY353" fmla="*/ 15119925 h 23759927"/>
              <a:gd name="connsiteX354" fmla="*/ 3600037 w 23760003"/>
              <a:gd name="connsiteY354" fmla="*/ 15119925 h 23759927"/>
              <a:gd name="connsiteX355" fmla="*/ 2160037 w 23760003"/>
              <a:gd name="connsiteY355" fmla="*/ 14399927 h 23759927"/>
              <a:gd name="connsiteX356" fmla="*/ 2880037 w 23760003"/>
              <a:gd name="connsiteY356" fmla="*/ 14399927 h 23759927"/>
              <a:gd name="connsiteX357" fmla="*/ 2880037 w 23760003"/>
              <a:gd name="connsiteY357" fmla="*/ 15119925 h 23759927"/>
              <a:gd name="connsiteX358" fmla="*/ 2160037 w 23760003"/>
              <a:gd name="connsiteY358" fmla="*/ 15119925 h 23759927"/>
              <a:gd name="connsiteX359" fmla="*/ 30 w 23760003"/>
              <a:gd name="connsiteY359" fmla="*/ 14399927 h 23759927"/>
              <a:gd name="connsiteX360" fmla="*/ 1440032 w 23760003"/>
              <a:gd name="connsiteY360" fmla="*/ 14399927 h 23759927"/>
              <a:gd name="connsiteX361" fmla="*/ 1440032 w 23760003"/>
              <a:gd name="connsiteY361" fmla="*/ 15119925 h 23759927"/>
              <a:gd name="connsiteX362" fmla="*/ 720025 w 23760003"/>
              <a:gd name="connsiteY362" fmla="*/ 15119925 h 23759927"/>
              <a:gd name="connsiteX363" fmla="*/ 720025 w 23760003"/>
              <a:gd name="connsiteY363" fmla="*/ 17999927 h 23759927"/>
              <a:gd name="connsiteX364" fmla="*/ 27 w 23760003"/>
              <a:gd name="connsiteY364" fmla="*/ 17999927 h 23759927"/>
              <a:gd name="connsiteX365" fmla="*/ 27 w 23760003"/>
              <a:gd name="connsiteY365" fmla="*/ 15119925 h 23759927"/>
              <a:gd name="connsiteX366" fmla="*/ 30 w 23760003"/>
              <a:gd name="connsiteY366" fmla="*/ 15119925 h 23759927"/>
              <a:gd name="connsiteX367" fmla="*/ 23040003 w 23760003"/>
              <a:gd name="connsiteY367" fmla="*/ 13679925 h 23759927"/>
              <a:gd name="connsiteX368" fmla="*/ 23760003 w 23760003"/>
              <a:gd name="connsiteY368" fmla="*/ 13679925 h 23759927"/>
              <a:gd name="connsiteX369" fmla="*/ 23760003 w 23760003"/>
              <a:gd name="connsiteY369" fmla="*/ 14399923 h 23759927"/>
              <a:gd name="connsiteX370" fmla="*/ 23040003 w 23760003"/>
              <a:gd name="connsiteY370" fmla="*/ 14399923 h 23759927"/>
              <a:gd name="connsiteX371" fmla="*/ 18000003 w 23760003"/>
              <a:gd name="connsiteY371" fmla="*/ 13679925 h 23759927"/>
              <a:gd name="connsiteX372" fmla="*/ 18720001 w 23760003"/>
              <a:gd name="connsiteY372" fmla="*/ 13679925 h 23759927"/>
              <a:gd name="connsiteX373" fmla="*/ 18720001 w 23760003"/>
              <a:gd name="connsiteY373" fmla="*/ 15119925 h 23759927"/>
              <a:gd name="connsiteX374" fmla="*/ 18000003 w 23760003"/>
              <a:gd name="connsiteY374" fmla="*/ 15119925 h 23759927"/>
              <a:gd name="connsiteX375" fmla="*/ 7200004 w 23760003"/>
              <a:gd name="connsiteY375" fmla="*/ 13679925 h 23759927"/>
              <a:gd name="connsiteX376" fmla="*/ 7920008 w 23760003"/>
              <a:gd name="connsiteY376" fmla="*/ 13679925 h 23759927"/>
              <a:gd name="connsiteX377" fmla="*/ 7920008 w 23760003"/>
              <a:gd name="connsiteY377" fmla="*/ 14399923 h 23759927"/>
              <a:gd name="connsiteX378" fmla="*/ 7200004 w 23760003"/>
              <a:gd name="connsiteY378" fmla="*/ 14399923 h 23759927"/>
              <a:gd name="connsiteX379" fmla="*/ 2880054 w 23760003"/>
              <a:gd name="connsiteY379" fmla="*/ 13679925 h 23759927"/>
              <a:gd name="connsiteX380" fmla="*/ 3600037 w 23760003"/>
              <a:gd name="connsiteY380" fmla="*/ 13679925 h 23759927"/>
              <a:gd name="connsiteX381" fmla="*/ 3600037 w 23760003"/>
              <a:gd name="connsiteY381" fmla="*/ 14399923 h 23759927"/>
              <a:gd name="connsiteX382" fmla="*/ 2880042 w 23760003"/>
              <a:gd name="connsiteY382" fmla="*/ 14399923 h 23759927"/>
              <a:gd name="connsiteX383" fmla="*/ 2880042 w 23760003"/>
              <a:gd name="connsiteY383" fmla="*/ 13679926 h 23759927"/>
              <a:gd name="connsiteX384" fmla="*/ 2880054 w 23760003"/>
              <a:gd name="connsiteY384" fmla="*/ 13679926 h 23759927"/>
              <a:gd name="connsiteX385" fmla="*/ 720036 w 23760003"/>
              <a:gd name="connsiteY385" fmla="*/ 13679925 h 23759927"/>
              <a:gd name="connsiteX386" fmla="*/ 2160037 w 23760003"/>
              <a:gd name="connsiteY386" fmla="*/ 13679925 h 23759927"/>
              <a:gd name="connsiteX387" fmla="*/ 2160037 w 23760003"/>
              <a:gd name="connsiteY387" fmla="*/ 14399923 h 23759927"/>
              <a:gd name="connsiteX388" fmla="*/ 720032 w 23760003"/>
              <a:gd name="connsiteY388" fmla="*/ 14399923 h 23759927"/>
              <a:gd name="connsiteX389" fmla="*/ 720032 w 23760003"/>
              <a:gd name="connsiteY389" fmla="*/ 13679926 h 23759927"/>
              <a:gd name="connsiteX390" fmla="*/ 720036 w 23760003"/>
              <a:gd name="connsiteY390" fmla="*/ 13679926 h 23759927"/>
              <a:gd name="connsiteX391" fmla="*/ 17280001 w 23760003"/>
              <a:gd name="connsiteY391" fmla="*/ 12959925 h 23759927"/>
              <a:gd name="connsiteX392" fmla="*/ 17999999 w 23760003"/>
              <a:gd name="connsiteY392" fmla="*/ 12959925 h 23759927"/>
              <a:gd name="connsiteX393" fmla="*/ 17999999 w 23760003"/>
              <a:gd name="connsiteY393" fmla="*/ 13679925 h 23759927"/>
              <a:gd name="connsiteX394" fmla="*/ 17280001 w 23760003"/>
              <a:gd name="connsiteY394" fmla="*/ 13679925 h 23759927"/>
              <a:gd name="connsiteX395" fmla="*/ 15840003 w 23760003"/>
              <a:gd name="connsiteY395" fmla="*/ 12959925 h 23759927"/>
              <a:gd name="connsiteX396" fmla="*/ 16560003 w 23760003"/>
              <a:gd name="connsiteY396" fmla="*/ 12959925 h 23759927"/>
              <a:gd name="connsiteX397" fmla="*/ 16560003 w 23760003"/>
              <a:gd name="connsiteY397" fmla="*/ 13679925 h 23759927"/>
              <a:gd name="connsiteX398" fmla="*/ 15840003 w 23760003"/>
              <a:gd name="connsiteY398" fmla="*/ 13679925 h 23759927"/>
              <a:gd name="connsiteX399" fmla="*/ 10080012 w 23760003"/>
              <a:gd name="connsiteY399" fmla="*/ 12959925 h 23759927"/>
              <a:gd name="connsiteX400" fmla="*/ 11520004 w 23760003"/>
              <a:gd name="connsiteY400" fmla="*/ 12959925 h 23759927"/>
              <a:gd name="connsiteX401" fmla="*/ 11520004 w 23760003"/>
              <a:gd name="connsiteY401" fmla="*/ 13679925 h 23759927"/>
              <a:gd name="connsiteX402" fmla="*/ 10800007 w 23760003"/>
              <a:gd name="connsiteY402" fmla="*/ 13679925 h 23759927"/>
              <a:gd name="connsiteX403" fmla="*/ 10800007 w 23760003"/>
              <a:gd name="connsiteY403" fmla="*/ 14399923 h 23759927"/>
              <a:gd name="connsiteX404" fmla="*/ 9360011 w 23760003"/>
              <a:gd name="connsiteY404" fmla="*/ 14399923 h 23759927"/>
              <a:gd name="connsiteX405" fmla="*/ 9360011 w 23760003"/>
              <a:gd name="connsiteY405" fmla="*/ 13679925 h 23759927"/>
              <a:gd name="connsiteX406" fmla="*/ 10080012 w 23760003"/>
              <a:gd name="connsiteY406" fmla="*/ 13679925 h 23759927"/>
              <a:gd name="connsiteX407" fmla="*/ 18720001 w 23760003"/>
              <a:gd name="connsiteY407" fmla="*/ 12239926 h 23759927"/>
              <a:gd name="connsiteX408" fmla="*/ 20160003 w 23760003"/>
              <a:gd name="connsiteY408" fmla="*/ 12239926 h 23759927"/>
              <a:gd name="connsiteX409" fmla="*/ 20160003 w 23760003"/>
              <a:gd name="connsiteY409" fmla="*/ 12959925 h 23759927"/>
              <a:gd name="connsiteX410" fmla="*/ 20880001 w 23760003"/>
              <a:gd name="connsiteY410" fmla="*/ 12959925 h 23759927"/>
              <a:gd name="connsiteX411" fmla="*/ 20880001 w 23760003"/>
              <a:gd name="connsiteY411" fmla="*/ 13679925 h 23759927"/>
              <a:gd name="connsiteX412" fmla="*/ 21600003 w 23760003"/>
              <a:gd name="connsiteY412" fmla="*/ 13679925 h 23759927"/>
              <a:gd name="connsiteX413" fmla="*/ 21600003 w 23760003"/>
              <a:gd name="connsiteY413" fmla="*/ 12959925 h 23759927"/>
              <a:gd name="connsiteX414" fmla="*/ 20880001 w 23760003"/>
              <a:gd name="connsiteY414" fmla="*/ 12959925 h 23759927"/>
              <a:gd name="connsiteX415" fmla="*/ 20880001 w 23760003"/>
              <a:gd name="connsiteY415" fmla="*/ 12239926 h 23759927"/>
              <a:gd name="connsiteX416" fmla="*/ 22320003 w 23760003"/>
              <a:gd name="connsiteY416" fmla="*/ 12239926 h 23759927"/>
              <a:gd name="connsiteX417" fmla="*/ 22320003 w 23760003"/>
              <a:gd name="connsiteY417" fmla="*/ 12959925 h 23759927"/>
              <a:gd name="connsiteX418" fmla="*/ 23040003 w 23760003"/>
              <a:gd name="connsiteY418" fmla="*/ 12959925 h 23759927"/>
              <a:gd name="connsiteX419" fmla="*/ 23040003 w 23760003"/>
              <a:gd name="connsiteY419" fmla="*/ 13679925 h 23759927"/>
              <a:gd name="connsiteX420" fmla="*/ 22320003 w 23760003"/>
              <a:gd name="connsiteY420" fmla="*/ 13679925 h 23759927"/>
              <a:gd name="connsiteX421" fmla="*/ 22320003 w 23760003"/>
              <a:gd name="connsiteY421" fmla="*/ 14399923 h 23759927"/>
              <a:gd name="connsiteX422" fmla="*/ 19440003 w 23760003"/>
              <a:gd name="connsiteY422" fmla="*/ 14399923 h 23759927"/>
              <a:gd name="connsiteX423" fmla="*/ 19440003 w 23760003"/>
              <a:gd name="connsiteY423" fmla="*/ 13679925 h 23759927"/>
              <a:gd name="connsiteX424" fmla="*/ 18720001 w 23760003"/>
              <a:gd name="connsiteY424" fmla="*/ 13679925 h 23759927"/>
              <a:gd name="connsiteX425" fmla="*/ 18720001 w 23760003"/>
              <a:gd name="connsiteY425" fmla="*/ 12959925 h 23759927"/>
              <a:gd name="connsiteX426" fmla="*/ 16560003 w 23760003"/>
              <a:gd name="connsiteY426" fmla="*/ 12239926 h 23759927"/>
              <a:gd name="connsiteX427" fmla="*/ 17280001 w 23760003"/>
              <a:gd name="connsiteY427" fmla="*/ 12239926 h 23759927"/>
              <a:gd name="connsiteX428" fmla="*/ 17280001 w 23760003"/>
              <a:gd name="connsiteY428" fmla="*/ 12959925 h 23759927"/>
              <a:gd name="connsiteX429" fmla="*/ 16560003 w 23760003"/>
              <a:gd name="connsiteY429" fmla="*/ 12959925 h 23759927"/>
              <a:gd name="connsiteX430" fmla="*/ 11520004 w 23760003"/>
              <a:gd name="connsiteY430" fmla="*/ 12239926 h 23759927"/>
              <a:gd name="connsiteX431" fmla="*/ 12960001 w 23760003"/>
              <a:gd name="connsiteY431" fmla="*/ 12239926 h 23759927"/>
              <a:gd name="connsiteX432" fmla="*/ 12960001 w 23760003"/>
              <a:gd name="connsiteY432" fmla="*/ 12959925 h 23759927"/>
              <a:gd name="connsiteX433" fmla="*/ 12960001 w 23760003"/>
              <a:gd name="connsiteY433" fmla="*/ 13679925 h 23759927"/>
              <a:gd name="connsiteX434" fmla="*/ 14400003 w 23760003"/>
              <a:gd name="connsiteY434" fmla="*/ 13679925 h 23759927"/>
              <a:gd name="connsiteX435" fmla="*/ 14400003 w 23760003"/>
              <a:gd name="connsiteY435" fmla="*/ 12959925 h 23759927"/>
              <a:gd name="connsiteX436" fmla="*/ 13680001 w 23760003"/>
              <a:gd name="connsiteY436" fmla="*/ 12959925 h 23759927"/>
              <a:gd name="connsiteX437" fmla="*/ 13680001 w 23760003"/>
              <a:gd name="connsiteY437" fmla="*/ 12239926 h 23759927"/>
              <a:gd name="connsiteX438" fmla="*/ 15120001 w 23760003"/>
              <a:gd name="connsiteY438" fmla="*/ 12239926 h 23759927"/>
              <a:gd name="connsiteX439" fmla="*/ 15120001 w 23760003"/>
              <a:gd name="connsiteY439" fmla="*/ 12959925 h 23759927"/>
              <a:gd name="connsiteX440" fmla="*/ 15120001 w 23760003"/>
              <a:gd name="connsiteY440" fmla="*/ 13679925 h 23759927"/>
              <a:gd name="connsiteX441" fmla="*/ 15840003 w 23760003"/>
              <a:gd name="connsiteY441" fmla="*/ 13679925 h 23759927"/>
              <a:gd name="connsiteX442" fmla="*/ 15840003 w 23760003"/>
              <a:gd name="connsiteY442" fmla="*/ 14399923 h 23759927"/>
              <a:gd name="connsiteX443" fmla="*/ 12240002 w 23760003"/>
              <a:gd name="connsiteY443" fmla="*/ 14399923 h 23759927"/>
              <a:gd name="connsiteX444" fmla="*/ 12240002 w 23760003"/>
              <a:gd name="connsiteY444" fmla="*/ 13679925 h 23759927"/>
              <a:gd name="connsiteX445" fmla="*/ 12240002 w 23760003"/>
              <a:gd name="connsiteY445" fmla="*/ 12959925 h 23759927"/>
              <a:gd name="connsiteX446" fmla="*/ 11520004 w 23760003"/>
              <a:gd name="connsiteY446" fmla="*/ 12959925 h 23759927"/>
              <a:gd name="connsiteX447" fmla="*/ 8640006 w 23760003"/>
              <a:gd name="connsiteY447" fmla="*/ 12239926 h 23759927"/>
              <a:gd name="connsiteX448" fmla="*/ 10080012 w 23760003"/>
              <a:gd name="connsiteY448" fmla="*/ 12239926 h 23759927"/>
              <a:gd name="connsiteX449" fmla="*/ 10080012 w 23760003"/>
              <a:gd name="connsiteY449" fmla="*/ 12959925 h 23759927"/>
              <a:gd name="connsiteX450" fmla="*/ 8640006 w 23760003"/>
              <a:gd name="connsiteY450" fmla="*/ 12959925 h 23759927"/>
              <a:gd name="connsiteX451" fmla="*/ 7200004 w 23760003"/>
              <a:gd name="connsiteY451" fmla="*/ 12239926 h 23759927"/>
              <a:gd name="connsiteX452" fmla="*/ 7920010 w 23760003"/>
              <a:gd name="connsiteY452" fmla="*/ 12239926 h 23759927"/>
              <a:gd name="connsiteX453" fmla="*/ 7920010 w 23760003"/>
              <a:gd name="connsiteY453" fmla="*/ 12959925 h 23759927"/>
              <a:gd name="connsiteX454" fmla="*/ 7200004 w 23760003"/>
              <a:gd name="connsiteY454" fmla="*/ 12959925 h 23759927"/>
              <a:gd name="connsiteX455" fmla="*/ 5040046 w 23760003"/>
              <a:gd name="connsiteY455" fmla="*/ 12239926 h 23759927"/>
              <a:gd name="connsiteX456" fmla="*/ 6480012 w 23760003"/>
              <a:gd name="connsiteY456" fmla="*/ 12239926 h 23759927"/>
              <a:gd name="connsiteX457" fmla="*/ 6480012 w 23760003"/>
              <a:gd name="connsiteY457" fmla="*/ 12959925 h 23759927"/>
              <a:gd name="connsiteX458" fmla="*/ 7200004 w 23760003"/>
              <a:gd name="connsiteY458" fmla="*/ 12959925 h 23759927"/>
              <a:gd name="connsiteX459" fmla="*/ 7200004 w 23760003"/>
              <a:gd name="connsiteY459" fmla="*/ 13679925 h 23759927"/>
              <a:gd name="connsiteX460" fmla="*/ 4320045 w 23760003"/>
              <a:gd name="connsiteY460" fmla="*/ 13679925 h 23759927"/>
              <a:gd name="connsiteX461" fmla="*/ 4320045 w 23760003"/>
              <a:gd name="connsiteY461" fmla="*/ 12959925 h 23759927"/>
              <a:gd name="connsiteX462" fmla="*/ 5040046 w 23760003"/>
              <a:gd name="connsiteY462" fmla="*/ 12959925 h 23759927"/>
              <a:gd name="connsiteX463" fmla="*/ 38 w 23760003"/>
              <a:gd name="connsiteY463" fmla="*/ 12239926 h 23759927"/>
              <a:gd name="connsiteX464" fmla="*/ 720036 w 23760003"/>
              <a:gd name="connsiteY464" fmla="*/ 12239926 h 23759927"/>
              <a:gd name="connsiteX465" fmla="*/ 720036 w 23760003"/>
              <a:gd name="connsiteY465" fmla="*/ 13679925 h 23759927"/>
              <a:gd name="connsiteX466" fmla="*/ 720032 w 23760003"/>
              <a:gd name="connsiteY466" fmla="*/ 13679925 h 23759927"/>
              <a:gd name="connsiteX467" fmla="*/ 720032 w 23760003"/>
              <a:gd name="connsiteY467" fmla="*/ 13679926 h 23759927"/>
              <a:gd name="connsiteX468" fmla="*/ 38 w 23760003"/>
              <a:gd name="connsiteY468" fmla="*/ 13679926 h 23759927"/>
              <a:gd name="connsiteX469" fmla="*/ 7920010 w 23760003"/>
              <a:gd name="connsiteY469" fmla="*/ 11519932 h 23759927"/>
              <a:gd name="connsiteX470" fmla="*/ 8640006 w 23760003"/>
              <a:gd name="connsiteY470" fmla="*/ 11519932 h 23759927"/>
              <a:gd name="connsiteX471" fmla="*/ 8640006 w 23760003"/>
              <a:gd name="connsiteY471" fmla="*/ 12239924 h 23759927"/>
              <a:gd name="connsiteX472" fmla="*/ 7920010 w 23760003"/>
              <a:gd name="connsiteY472" fmla="*/ 12239924 h 23759927"/>
              <a:gd name="connsiteX473" fmla="*/ 23040003 w 23760003"/>
              <a:gd name="connsiteY473" fmla="*/ 11519929 h 23759927"/>
              <a:gd name="connsiteX474" fmla="*/ 23760003 w 23760003"/>
              <a:gd name="connsiteY474" fmla="*/ 11519929 h 23759927"/>
              <a:gd name="connsiteX475" fmla="*/ 23760003 w 23760003"/>
              <a:gd name="connsiteY475" fmla="*/ 12959925 h 23759927"/>
              <a:gd name="connsiteX476" fmla="*/ 23040003 w 23760003"/>
              <a:gd name="connsiteY476" fmla="*/ 12959925 h 23759927"/>
              <a:gd name="connsiteX477" fmla="*/ 15840003 w 23760003"/>
              <a:gd name="connsiteY477" fmla="*/ 11519929 h 23759927"/>
              <a:gd name="connsiteX478" fmla="*/ 16560003 w 23760003"/>
              <a:gd name="connsiteY478" fmla="*/ 11519929 h 23759927"/>
              <a:gd name="connsiteX479" fmla="*/ 16560003 w 23760003"/>
              <a:gd name="connsiteY479" fmla="*/ 11519932 h 23759927"/>
              <a:gd name="connsiteX480" fmla="*/ 17280001 w 23760003"/>
              <a:gd name="connsiteY480" fmla="*/ 11519932 h 23759927"/>
              <a:gd name="connsiteX481" fmla="*/ 17280001 w 23760003"/>
              <a:gd name="connsiteY481" fmla="*/ 11519929 h 23759927"/>
              <a:gd name="connsiteX482" fmla="*/ 18000003 w 23760003"/>
              <a:gd name="connsiteY482" fmla="*/ 11519929 h 23759927"/>
              <a:gd name="connsiteX483" fmla="*/ 18000003 w 23760003"/>
              <a:gd name="connsiteY483" fmla="*/ 11519932 h 23759927"/>
              <a:gd name="connsiteX484" fmla="*/ 18720003 w 23760003"/>
              <a:gd name="connsiteY484" fmla="*/ 11519932 h 23759927"/>
              <a:gd name="connsiteX485" fmla="*/ 18720003 w 23760003"/>
              <a:gd name="connsiteY485" fmla="*/ 12239924 h 23759927"/>
              <a:gd name="connsiteX486" fmla="*/ 15840003 w 23760003"/>
              <a:gd name="connsiteY486" fmla="*/ 12239924 h 23759927"/>
              <a:gd name="connsiteX487" fmla="*/ 12240002 w 23760003"/>
              <a:gd name="connsiteY487" fmla="*/ 11519929 h 23759927"/>
              <a:gd name="connsiteX488" fmla="*/ 13680001 w 23760003"/>
              <a:gd name="connsiteY488" fmla="*/ 11519929 h 23759927"/>
              <a:gd name="connsiteX489" fmla="*/ 13680001 w 23760003"/>
              <a:gd name="connsiteY489" fmla="*/ 11519932 h 23759927"/>
              <a:gd name="connsiteX490" fmla="*/ 13680002 w 23760003"/>
              <a:gd name="connsiteY490" fmla="*/ 11519932 h 23759927"/>
              <a:gd name="connsiteX491" fmla="*/ 13680002 w 23760003"/>
              <a:gd name="connsiteY491" fmla="*/ 12239924 h 23759927"/>
              <a:gd name="connsiteX492" fmla="*/ 12240002 w 23760003"/>
              <a:gd name="connsiteY492" fmla="*/ 12239924 h 23759927"/>
              <a:gd name="connsiteX493" fmla="*/ 9360017 w 23760003"/>
              <a:gd name="connsiteY493" fmla="*/ 11519929 h 23759927"/>
              <a:gd name="connsiteX494" fmla="*/ 9360021 w 23760003"/>
              <a:gd name="connsiteY494" fmla="*/ 11519929 h 23759927"/>
              <a:gd name="connsiteX495" fmla="*/ 9360021 w 23760003"/>
              <a:gd name="connsiteY495" fmla="*/ 11519932 h 23759927"/>
              <a:gd name="connsiteX496" fmla="*/ 10080012 w 23760003"/>
              <a:gd name="connsiteY496" fmla="*/ 11519932 h 23759927"/>
              <a:gd name="connsiteX497" fmla="*/ 10080012 w 23760003"/>
              <a:gd name="connsiteY497" fmla="*/ 11519929 h 23759927"/>
              <a:gd name="connsiteX498" fmla="*/ 10800009 w 23760003"/>
              <a:gd name="connsiteY498" fmla="*/ 11519929 h 23759927"/>
              <a:gd name="connsiteX499" fmla="*/ 10800009 w 23760003"/>
              <a:gd name="connsiteY499" fmla="*/ 11519932 h 23759927"/>
              <a:gd name="connsiteX500" fmla="*/ 11520004 w 23760003"/>
              <a:gd name="connsiteY500" fmla="*/ 11519932 h 23759927"/>
              <a:gd name="connsiteX501" fmla="*/ 11520004 w 23760003"/>
              <a:gd name="connsiteY501" fmla="*/ 12239924 h 23759927"/>
              <a:gd name="connsiteX502" fmla="*/ 9360017 w 23760003"/>
              <a:gd name="connsiteY502" fmla="*/ 12239924 h 23759927"/>
              <a:gd name="connsiteX503" fmla="*/ 16560003 w 23760003"/>
              <a:gd name="connsiteY503" fmla="*/ 10799935 h 23759927"/>
              <a:gd name="connsiteX504" fmla="*/ 17280001 w 23760003"/>
              <a:gd name="connsiteY504" fmla="*/ 10799935 h 23759927"/>
              <a:gd name="connsiteX505" fmla="*/ 17280001 w 23760003"/>
              <a:gd name="connsiteY505" fmla="*/ 11519929 h 23759927"/>
              <a:gd name="connsiteX506" fmla="*/ 16560003 w 23760003"/>
              <a:gd name="connsiteY506" fmla="*/ 11519929 h 23759927"/>
              <a:gd name="connsiteX507" fmla="*/ 6480012 w 23760003"/>
              <a:gd name="connsiteY507" fmla="*/ 10799935 h 23759927"/>
              <a:gd name="connsiteX508" fmla="*/ 7200014 w 23760003"/>
              <a:gd name="connsiteY508" fmla="*/ 10799935 h 23759927"/>
              <a:gd name="connsiteX509" fmla="*/ 7200014 w 23760003"/>
              <a:gd name="connsiteY509" fmla="*/ 11519932 h 23759927"/>
              <a:gd name="connsiteX510" fmla="*/ 6480012 w 23760003"/>
              <a:gd name="connsiteY510" fmla="*/ 11519932 h 23759927"/>
              <a:gd name="connsiteX511" fmla="*/ 3600051 w 23760003"/>
              <a:gd name="connsiteY511" fmla="*/ 10799935 h 23759927"/>
              <a:gd name="connsiteX512" fmla="*/ 4320049 w 23760003"/>
              <a:gd name="connsiteY512" fmla="*/ 10799935 h 23759927"/>
              <a:gd name="connsiteX513" fmla="*/ 4320049 w 23760003"/>
              <a:gd name="connsiteY513" fmla="*/ 11519932 h 23759927"/>
              <a:gd name="connsiteX514" fmla="*/ 6480012 w 23760003"/>
              <a:gd name="connsiteY514" fmla="*/ 11519932 h 23759927"/>
              <a:gd name="connsiteX515" fmla="*/ 6480012 w 23760003"/>
              <a:gd name="connsiteY515" fmla="*/ 12239924 h 23759927"/>
              <a:gd name="connsiteX516" fmla="*/ 3600046 w 23760003"/>
              <a:gd name="connsiteY516" fmla="*/ 12239924 h 23759927"/>
              <a:gd name="connsiteX517" fmla="*/ 3600046 w 23760003"/>
              <a:gd name="connsiteY517" fmla="*/ 11519932 h 23759927"/>
              <a:gd name="connsiteX518" fmla="*/ 3600051 w 23760003"/>
              <a:gd name="connsiteY518" fmla="*/ 11519932 h 23759927"/>
              <a:gd name="connsiteX519" fmla="*/ 2160048 w 23760003"/>
              <a:gd name="connsiteY519" fmla="*/ 10799935 h 23759927"/>
              <a:gd name="connsiteX520" fmla="*/ 2880054 w 23760003"/>
              <a:gd name="connsiteY520" fmla="*/ 10799935 h 23759927"/>
              <a:gd name="connsiteX521" fmla="*/ 2880054 w 23760003"/>
              <a:gd name="connsiteY521" fmla="*/ 13679925 h 23759927"/>
              <a:gd name="connsiteX522" fmla="*/ 2880042 w 23760003"/>
              <a:gd name="connsiteY522" fmla="*/ 13679925 h 23759927"/>
              <a:gd name="connsiteX523" fmla="*/ 2880042 w 23760003"/>
              <a:gd name="connsiteY523" fmla="*/ 13679926 h 23759927"/>
              <a:gd name="connsiteX524" fmla="*/ 2160048 w 23760003"/>
              <a:gd name="connsiteY524" fmla="*/ 13679926 h 23759927"/>
              <a:gd name="connsiteX525" fmla="*/ 15840003 w 23760003"/>
              <a:gd name="connsiteY525" fmla="*/ 10079946 h 23759927"/>
              <a:gd name="connsiteX526" fmla="*/ 16560003 w 23760003"/>
              <a:gd name="connsiteY526" fmla="*/ 10079946 h 23759927"/>
              <a:gd name="connsiteX527" fmla="*/ 16560003 w 23760003"/>
              <a:gd name="connsiteY527" fmla="*/ 10799935 h 23759927"/>
              <a:gd name="connsiteX528" fmla="*/ 15840003 w 23760003"/>
              <a:gd name="connsiteY528" fmla="*/ 10799935 h 23759927"/>
              <a:gd name="connsiteX529" fmla="*/ 720047 w 23760003"/>
              <a:gd name="connsiteY529" fmla="*/ 10079946 h 23759927"/>
              <a:gd name="connsiteX530" fmla="*/ 1440053 w 23760003"/>
              <a:gd name="connsiteY530" fmla="*/ 10079946 h 23759927"/>
              <a:gd name="connsiteX531" fmla="*/ 1440053 w 23760003"/>
              <a:gd name="connsiteY531" fmla="*/ 11519932 h 23759927"/>
              <a:gd name="connsiteX532" fmla="*/ 720044 w 23760003"/>
              <a:gd name="connsiteY532" fmla="*/ 11519932 h 23759927"/>
              <a:gd name="connsiteX533" fmla="*/ 720044 w 23760003"/>
              <a:gd name="connsiteY533" fmla="*/ 10079947 h 23759927"/>
              <a:gd name="connsiteX534" fmla="*/ 720047 w 23760003"/>
              <a:gd name="connsiteY534" fmla="*/ 10079947 h 23759927"/>
              <a:gd name="connsiteX535" fmla="*/ 14400003 w 23760003"/>
              <a:gd name="connsiteY535" fmla="*/ 9359950 h 23759927"/>
              <a:gd name="connsiteX536" fmla="*/ 15120001 w 23760003"/>
              <a:gd name="connsiteY536" fmla="*/ 9359950 h 23759927"/>
              <a:gd name="connsiteX537" fmla="*/ 15120001 w 23760003"/>
              <a:gd name="connsiteY537" fmla="*/ 10799935 h 23759927"/>
              <a:gd name="connsiteX538" fmla="*/ 15840001 w 23760003"/>
              <a:gd name="connsiteY538" fmla="*/ 10799935 h 23759927"/>
              <a:gd name="connsiteX539" fmla="*/ 15840001 w 23760003"/>
              <a:gd name="connsiteY539" fmla="*/ 11519932 h 23759927"/>
              <a:gd name="connsiteX540" fmla="*/ 15120001 w 23760003"/>
              <a:gd name="connsiteY540" fmla="*/ 11519932 h 23759927"/>
              <a:gd name="connsiteX541" fmla="*/ 15120001 w 23760003"/>
              <a:gd name="connsiteY541" fmla="*/ 10799937 h 23759927"/>
              <a:gd name="connsiteX542" fmla="*/ 14400003 w 23760003"/>
              <a:gd name="connsiteY542" fmla="*/ 10799937 h 23759927"/>
              <a:gd name="connsiteX543" fmla="*/ 12960001 w 23760003"/>
              <a:gd name="connsiteY543" fmla="*/ 9359950 h 23759927"/>
              <a:gd name="connsiteX544" fmla="*/ 13680001 w 23760003"/>
              <a:gd name="connsiteY544" fmla="*/ 9359950 h 23759927"/>
              <a:gd name="connsiteX545" fmla="*/ 13680001 w 23760003"/>
              <a:gd name="connsiteY545" fmla="*/ 10799935 h 23759927"/>
              <a:gd name="connsiteX546" fmla="*/ 14399999 w 23760003"/>
              <a:gd name="connsiteY546" fmla="*/ 10799935 h 23759927"/>
              <a:gd name="connsiteX547" fmla="*/ 14399999 w 23760003"/>
              <a:gd name="connsiteY547" fmla="*/ 11519932 h 23759927"/>
              <a:gd name="connsiteX548" fmla="*/ 13680002 w 23760003"/>
              <a:gd name="connsiteY548" fmla="*/ 11519932 h 23759927"/>
              <a:gd name="connsiteX549" fmla="*/ 13680002 w 23760003"/>
              <a:gd name="connsiteY549" fmla="*/ 11519929 h 23759927"/>
              <a:gd name="connsiteX550" fmla="*/ 13680001 w 23760003"/>
              <a:gd name="connsiteY550" fmla="*/ 11519929 h 23759927"/>
              <a:gd name="connsiteX551" fmla="*/ 13680001 w 23760003"/>
              <a:gd name="connsiteY551" fmla="*/ 10799937 h 23759927"/>
              <a:gd name="connsiteX552" fmla="*/ 12960001 w 23760003"/>
              <a:gd name="connsiteY552" fmla="*/ 10799937 h 23759927"/>
              <a:gd name="connsiteX553" fmla="*/ 49 w 23760003"/>
              <a:gd name="connsiteY553" fmla="*/ 9359950 h 23759927"/>
              <a:gd name="connsiteX554" fmla="*/ 720047 w 23760003"/>
              <a:gd name="connsiteY554" fmla="*/ 9359950 h 23759927"/>
              <a:gd name="connsiteX555" fmla="*/ 720047 w 23760003"/>
              <a:gd name="connsiteY555" fmla="*/ 10079946 h 23759927"/>
              <a:gd name="connsiteX556" fmla="*/ 720044 w 23760003"/>
              <a:gd name="connsiteY556" fmla="*/ 10079946 h 23759927"/>
              <a:gd name="connsiteX557" fmla="*/ 720044 w 23760003"/>
              <a:gd name="connsiteY557" fmla="*/ 10079947 h 23759927"/>
              <a:gd name="connsiteX558" fmla="*/ 49 w 23760003"/>
              <a:gd name="connsiteY558" fmla="*/ 10079947 h 23759927"/>
              <a:gd name="connsiteX559" fmla="*/ 18000003 w 23760003"/>
              <a:gd name="connsiteY559" fmla="*/ 8639936 h 23759927"/>
              <a:gd name="connsiteX560" fmla="*/ 18720001 w 23760003"/>
              <a:gd name="connsiteY560" fmla="*/ 8639936 h 23759927"/>
              <a:gd name="connsiteX561" fmla="*/ 18720001 w 23760003"/>
              <a:gd name="connsiteY561" fmla="*/ 9359950 h 23759927"/>
              <a:gd name="connsiteX562" fmla="*/ 18000003 w 23760003"/>
              <a:gd name="connsiteY562" fmla="*/ 9359950 h 23759927"/>
              <a:gd name="connsiteX563" fmla="*/ 19440003 w 23760003"/>
              <a:gd name="connsiteY563" fmla="*/ 8639934 h 23759927"/>
              <a:gd name="connsiteX564" fmla="*/ 20160003 w 23760003"/>
              <a:gd name="connsiteY564" fmla="*/ 8639934 h 23759927"/>
              <a:gd name="connsiteX565" fmla="*/ 20160003 w 23760003"/>
              <a:gd name="connsiteY565" fmla="*/ 8639936 h 23759927"/>
              <a:gd name="connsiteX566" fmla="*/ 21600003 w 23760003"/>
              <a:gd name="connsiteY566" fmla="*/ 8639936 h 23759927"/>
              <a:gd name="connsiteX567" fmla="*/ 21600003 w 23760003"/>
              <a:gd name="connsiteY567" fmla="*/ 9359950 h 23759927"/>
              <a:gd name="connsiteX568" fmla="*/ 20160003 w 23760003"/>
              <a:gd name="connsiteY568" fmla="*/ 9359950 h 23759927"/>
              <a:gd name="connsiteX569" fmla="*/ 20160003 w 23760003"/>
              <a:gd name="connsiteY569" fmla="*/ 10079946 h 23759927"/>
              <a:gd name="connsiteX570" fmla="*/ 20160003 w 23760003"/>
              <a:gd name="connsiteY570" fmla="*/ 10799935 h 23759927"/>
              <a:gd name="connsiteX571" fmla="*/ 19440003 w 23760003"/>
              <a:gd name="connsiteY571" fmla="*/ 10799935 h 23759927"/>
              <a:gd name="connsiteX572" fmla="*/ 19440003 w 23760003"/>
              <a:gd name="connsiteY572" fmla="*/ 11519929 h 23759927"/>
              <a:gd name="connsiteX573" fmla="*/ 20160003 w 23760003"/>
              <a:gd name="connsiteY573" fmla="*/ 11519929 h 23759927"/>
              <a:gd name="connsiteX574" fmla="*/ 20160003 w 23760003"/>
              <a:gd name="connsiteY574" fmla="*/ 11519932 h 23759927"/>
              <a:gd name="connsiteX575" fmla="*/ 20880003 w 23760003"/>
              <a:gd name="connsiteY575" fmla="*/ 11519932 h 23759927"/>
              <a:gd name="connsiteX576" fmla="*/ 20880003 w 23760003"/>
              <a:gd name="connsiteY576" fmla="*/ 12239924 h 23759927"/>
              <a:gd name="connsiteX577" fmla="*/ 19440003 w 23760003"/>
              <a:gd name="connsiteY577" fmla="*/ 12239924 h 23759927"/>
              <a:gd name="connsiteX578" fmla="*/ 19440003 w 23760003"/>
              <a:gd name="connsiteY578" fmla="*/ 11519932 h 23759927"/>
              <a:gd name="connsiteX579" fmla="*/ 18720003 w 23760003"/>
              <a:gd name="connsiteY579" fmla="*/ 11519932 h 23759927"/>
              <a:gd name="connsiteX580" fmla="*/ 18720003 w 23760003"/>
              <a:gd name="connsiteY580" fmla="*/ 11519929 h 23759927"/>
              <a:gd name="connsiteX581" fmla="*/ 18000003 w 23760003"/>
              <a:gd name="connsiteY581" fmla="*/ 11519929 h 23759927"/>
              <a:gd name="connsiteX582" fmla="*/ 18000003 w 23760003"/>
              <a:gd name="connsiteY582" fmla="*/ 10799935 h 23759927"/>
              <a:gd name="connsiteX583" fmla="*/ 18000003 w 23760003"/>
              <a:gd name="connsiteY583" fmla="*/ 10079946 h 23759927"/>
              <a:gd name="connsiteX584" fmla="*/ 19440003 w 23760003"/>
              <a:gd name="connsiteY584" fmla="*/ 10079946 h 23759927"/>
              <a:gd name="connsiteX585" fmla="*/ 19440003 w 23760003"/>
              <a:gd name="connsiteY585" fmla="*/ 9359950 h 23759927"/>
              <a:gd name="connsiteX586" fmla="*/ 16560003 w 23760003"/>
              <a:gd name="connsiteY586" fmla="*/ 8639934 h 23759927"/>
              <a:gd name="connsiteX587" fmla="*/ 17280001 w 23760003"/>
              <a:gd name="connsiteY587" fmla="*/ 8639934 h 23759927"/>
              <a:gd name="connsiteX588" fmla="*/ 17280001 w 23760003"/>
              <a:gd name="connsiteY588" fmla="*/ 8639936 h 23759927"/>
              <a:gd name="connsiteX589" fmla="*/ 17280003 w 23760003"/>
              <a:gd name="connsiteY589" fmla="*/ 8639936 h 23759927"/>
              <a:gd name="connsiteX590" fmla="*/ 17280003 w 23760003"/>
              <a:gd name="connsiteY590" fmla="*/ 9359950 h 23759927"/>
              <a:gd name="connsiteX591" fmla="*/ 17280001 w 23760003"/>
              <a:gd name="connsiteY591" fmla="*/ 9359950 h 23759927"/>
              <a:gd name="connsiteX592" fmla="*/ 17280001 w 23760003"/>
              <a:gd name="connsiteY592" fmla="*/ 10079946 h 23759927"/>
              <a:gd name="connsiteX593" fmla="*/ 16560003 w 23760003"/>
              <a:gd name="connsiteY593" fmla="*/ 10079946 h 23759927"/>
              <a:gd name="connsiteX594" fmla="*/ 16560003 w 23760003"/>
              <a:gd name="connsiteY594" fmla="*/ 9359950 h 23759927"/>
              <a:gd name="connsiteX595" fmla="*/ 15840003 w 23760003"/>
              <a:gd name="connsiteY595" fmla="*/ 9359950 h 23759927"/>
              <a:gd name="connsiteX596" fmla="*/ 15840003 w 23760003"/>
              <a:gd name="connsiteY596" fmla="*/ 8639936 h 23759927"/>
              <a:gd name="connsiteX597" fmla="*/ 16560003 w 23760003"/>
              <a:gd name="connsiteY597" fmla="*/ 8639936 h 23759927"/>
              <a:gd name="connsiteX598" fmla="*/ 13680002 w 23760003"/>
              <a:gd name="connsiteY598" fmla="*/ 8639934 h 23759927"/>
              <a:gd name="connsiteX599" fmla="*/ 14399999 w 23760003"/>
              <a:gd name="connsiteY599" fmla="*/ 8639934 h 23759927"/>
              <a:gd name="connsiteX600" fmla="*/ 14399999 w 23760003"/>
              <a:gd name="connsiteY600" fmla="*/ 9359950 h 23759927"/>
              <a:gd name="connsiteX601" fmla="*/ 13680001 w 23760003"/>
              <a:gd name="connsiteY601" fmla="*/ 9359950 h 23759927"/>
              <a:gd name="connsiteX602" fmla="*/ 13680001 w 23760003"/>
              <a:gd name="connsiteY602" fmla="*/ 8639936 h 23759927"/>
              <a:gd name="connsiteX603" fmla="*/ 13680002 w 23760003"/>
              <a:gd name="connsiteY603" fmla="*/ 8639936 h 23759927"/>
              <a:gd name="connsiteX604" fmla="*/ 10800017 w 23760003"/>
              <a:gd name="connsiteY604" fmla="*/ 7919941 h 23759927"/>
              <a:gd name="connsiteX605" fmla="*/ 11520004 w 23760003"/>
              <a:gd name="connsiteY605" fmla="*/ 7919941 h 23759927"/>
              <a:gd name="connsiteX606" fmla="*/ 11520004 w 23760003"/>
              <a:gd name="connsiteY606" fmla="*/ 8639936 h 23759927"/>
              <a:gd name="connsiteX607" fmla="*/ 12240002 w 23760003"/>
              <a:gd name="connsiteY607" fmla="*/ 8639936 h 23759927"/>
              <a:gd name="connsiteX608" fmla="*/ 12240002 w 23760003"/>
              <a:gd name="connsiteY608" fmla="*/ 9359950 h 23759927"/>
              <a:gd name="connsiteX609" fmla="*/ 10800012 w 23760003"/>
              <a:gd name="connsiteY609" fmla="*/ 9359950 h 23759927"/>
              <a:gd name="connsiteX610" fmla="*/ 10800012 w 23760003"/>
              <a:gd name="connsiteY610" fmla="*/ 8639936 h 23759927"/>
              <a:gd name="connsiteX611" fmla="*/ 10800017 w 23760003"/>
              <a:gd name="connsiteY611" fmla="*/ 8639936 h 23759927"/>
              <a:gd name="connsiteX612" fmla="*/ 720053 w 23760003"/>
              <a:gd name="connsiteY612" fmla="*/ 7919941 h 23759927"/>
              <a:gd name="connsiteX613" fmla="*/ 2160062 w 23760003"/>
              <a:gd name="connsiteY613" fmla="*/ 7919941 h 23759927"/>
              <a:gd name="connsiteX614" fmla="*/ 2160062 w 23760003"/>
              <a:gd name="connsiteY614" fmla="*/ 8639936 h 23759927"/>
              <a:gd name="connsiteX615" fmla="*/ 2880062 w 23760003"/>
              <a:gd name="connsiteY615" fmla="*/ 8639936 h 23759927"/>
              <a:gd name="connsiteX616" fmla="*/ 2880062 w 23760003"/>
              <a:gd name="connsiteY616" fmla="*/ 9359950 h 23759927"/>
              <a:gd name="connsiteX617" fmla="*/ 2880062 w 23760003"/>
              <a:gd name="connsiteY617" fmla="*/ 10079947 h 23759927"/>
              <a:gd name="connsiteX618" fmla="*/ 2160054 w 23760003"/>
              <a:gd name="connsiteY618" fmla="*/ 10079947 h 23759927"/>
              <a:gd name="connsiteX619" fmla="*/ 2160054 w 23760003"/>
              <a:gd name="connsiteY619" fmla="*/ 9359950 h 23759927"/>
              <a:gd name="connsiteX620" fmla="*/ 1440055 w 23760003"/>
              <a:gd name="connsiteY620" fmla="*/ 9359950 h 23759927"/>
              <a:gd name="connsiteX621" fmla="*/ 1440055 w 23760003"/>
              <a:gd name="connsiteY621" fmla="*/ 8639936 h 23759927"/>
              <a:gd name="connsiteX622" fmla="*/ 720053 w 23760003"/>
              <a:gd name="connsiteY622" fmla="*/ 8639936 h 23759927"/>
              <a:gd name="connsiteX623" fmla="*/ 23040003 w 23760003"/>
              <a:gd name="connsiteY623" fmla="*/ 7919939 h 23759927"/>
              <a:gd name="connsiteX624" fmla="*/ 23760003 w 23760003"/>
              <a:gd name="connsiteY624" fmla="*/ 7919939 h 23759927"/>
              <a:gd name="connsiteX625" fmla="*/ 23760003 w 23760003"/>
              <a:gd name="connsiteY625" fmla="*/ 8639936 h 23759927"/>
              <a:gd name="connsiteX626" fmla="*/ 23040003 w 23760003"/>
              <a:gd name="connsiteY626" fmla="*/ 8639936 h 23759927"/>
              <a:gd name="connsiteX627" fmla="*/ 15840003 w 23760003"/>
              <a:gd name="connsiteY627" fmla="*/ 7919939 h 23759927"/>
              <a:gd name="connsiteX628" fmla="*/ 16560003 w 23760003"/>
              <a:gd name="connsiteY628" fmla="*/ 7919939 h 23759927"/>
              <a:gd name="connsiteX629" fmla="*/ 16560003 w 23760003"/>
              <a:gd name="connsiteY629" fmla="*/ 8639934 h 23759927"/>
              <a:gd name="connsiteX630" fmla="*/ 15840003 w 23760003"/>
              <a:gd name="connsiteY630" fmla="*/ 8639934 h 23759927"/>
              <a:gd name="connsiteX631" fmla="*/ 15840003 w 23760003"/>
              <a:gd name="connsiteY631" fmla="*/ 8639936 h 23759927"/>
              <a:gd name="connsiteX632" fmla="*/ 15120001 w 23760003"/>
              <a:gd name="connsiteY632" fmla="*/ 8639936 h 23759927"/>
              <a:gd name="connsiteX633" fmla="*/ 15120001 w 23760003"/>
              <a:gd name="connsiteY633" fmla="*/ 7919941 h 23759927"/>
              <a:gd name="connsiteX634" fmla="*/ 15840003 w 23760003"/>
              <a:gd name="connsiteY634" fmla="*/ 7919941 h 23759927"/>
              <a:gd name="connsiteX635" fmla="*/ 12960001 w 23760003"/>
              <a:gd name="connsiteY635" fmla="*/ 7919939 h 23759927"/>
              <a:gd name="connsiteX636" fmla="*/ 13680002 w 23760003"/>
              <a:gd name="connsiteY636" fmla="*/ 7919939 h 23759927"/>
              <a:gd name="connsiteX637" fmla="*/ 13680002 w 23760003"/>
              <a:gd name="connsiteY637" fmla="*/ 8639934 h 23759927"/>
              <a:gd name="connsiteX638" fmla="*/ 13680001 w 23760003"/>
              <a:gd name="connsiteY638" fmla="*/ 8639934 h 23759927"/>
              <a:gd name="connsiteX639" fmla="*/ 13680001 w 23760003"/>
              <a:gd name="connsiteY639" fmla="*/ 8639936 h 23759927"/>
              <a:gd name="connsiteX640" fmla="*/ 12240002 w 23760003"/>
              <a:gd name="connsiteY640" fmla="*/ 8639936 h 23759927"/>
              <a:gd name="connsiteX641" fmla="*/ 12240002 w 23760003"/>
              <a:gd name="connsiteY641" fmla="*/ 7919941 h 23759927"/>
              <a:gd name="connsiteX642" fmla="*/ 12960001 w 23760003"/>
              <a:gd name="connsiteY642" fmla="*/ 7919941 h 23759927"/>
              <a:gd name="connsiteX643" fmla="*/ 7920015 w 23760003"/>
              <a:gd name="connsiteY643" fmla="*/ 7919939 h 23759927"/>
              <a:gd name="connsiteX644" fmla="*/ 8640010 w 23760003"/>
              <a:gd name="connsiteY644" fmla="*/ 7919939 h 23759927"/>
              <a:gd name="connsiteX645" fmla="*/ 8640010 w 23760003"/>
              <a:gd name="connsiteY645" fmla="*/ 8639936 h 23759927"/>
              <a:gd name="connsiteX646" fmla="*/ 9360021 w 23760003"/>
              <a:gd name="connsiteY646" fmla="*/ 8639936 h 23759927"/>
              <a:gd name="connsiteX647" fmla="*/ 9360021 w 23760003"/>
              <a:gd name="connsiteY647" fmla="*/ 9359950 h 23759927"/>
              <a:gd name="connsiteX648" fmla="*/ 9360021 w 23760003"/>
              <a:gd name="connsiteY648" fmla="*/ 10079946 h 23759927"/>
              <a:gd name="connsiteX649" fmla="*/ 12240002 w 23760003"/>
              <a:gd name="connsiteY649" fmla="*/ 10079946 h 23759927"/>
              <a:gd name="connsiteX650" fmla="*/ 12240002 w 23760003"/>
              <a:gd name="connsiteY650" fmla="*/ 10799935 h 23759927"/>
              <a:gd name="connsiteX651" fmla="*/ 11520004 w 23760003"/>
              <a:gd name="connsiteY651" fmla="*/ 10799935 h 23759927"/>
              <a:gd name="connsiteX652" fmla="*/ 11520004 w 23760003"/>
              <a:gd name="connsiteY652" fmla="*/ 11519929 h 23759927"/>
              <a:gd name="connsiteX653" fmla="*/ 10800009 w 23760003"/>
              <a:gd name="connsiteY653" fmla="*/ 11519929 h 23759927"/>
              <a:gd name="connsiteX654" fmla="*/ 10800009 w 23760003"/>
              <a:gd name="connsiteY654" fmla="*/ 10799935 h 23759927"/>
              <a:gd name="connsiteX655" fmla="*/ 10080012 w 23760003"/>
              <a:gd name="connsiteY655" fmla="*/ 10799935 h 23759927"/>
              <a:gd name="connsiteX656" fmla="*/ 10080012 w 23760003"/>
              <a:gd name="connsiteY656" fmla="*/ 11519929 h 23759927"/>
              <a:gd name="connsiteX657" fmla="*/ 9360021 w 23760003"/>
              <a:gd name="connsiteY657" fmla="*/ 11519929 h 23759927"/>
              <a:gd name="connsiteX658" fmla="*/ 9360021 w 23760003"/>
              <a:gd name="connsiteY658" fmla="*/ 10799935 h 23759927"/>
              <a:gd name="connsiteX659" fmla="*/ 9360021 w 23760003"/>
              <a:gd name="connsiteY659" fmla="*/ 10079947 h 23759927"/>
              <a:gd name="connsiteX660" fmla="*/ 8640008 w 23760003"/>
              <a:gd name="connsiteY660" fmla="*/ 10079947 h 23759927"/>
              <a:gd name="connsiteX661" fmla="*/ 8640008 w 23760003"/>
              <a:gd name="connsiteY661" fmla="*/ 9359950 h 23759927"/>
              <a:gd name="connsiteX662" fmla="*/ 7920011 w 23760003"/>
              <a:gd name="connsiteY662" fmla="*/ 9359950 h 23759927"/>
              <a:gd name="connsiteX663" fmla="*/ 7920011 w 23760003"/>
              <a:gd name="connsiteY663" fmla="*/ 10079947 h 23759927"/>
              <a:gd name="connsiteX664" fmla="*/ 5040054 w 23760003"/>
              <a:gd name="connsiteY664" fmla="*/ 10079947 h 23759927"/>
              <a:gd name="connsiteX665" fmla="*/ 5040054 w 23760003"/>
              <a:gd name="connsiteY665" fmla="*/ 10799935 h 23759927"/>
              <a:gd name="connsiteX666" fmla="*/ 4320049 w 23760003"/>
              <a:gd name="connsiteY666" fmla="*/ 10799935 h 23759927"/>
              <a:gd name="connsiteX667" fmla="*/ 4320049 w 23760003"/>
              <a:gd name="connsiteY667" fmla="*/ 10079946 h 23759927"/>
              <a:gd name="connsiteX668" fmla="*/ 5040054 w 23760003"/>
              <a:gd name="connsiteY668" fmla="*/ 10079946 h 23759927"/>
              <a:gd name="connsiteX669" fmla="*/ 5040054 w 23760003"/>
              <a:gd name="connsiteY669" fmla="*/ 9359950 h 23759927"/>
              <a:gd name="connsiteX670" fmla="*/ 5760012 w 23760003"/>
              <a:gd name="connsiteY670" fmla="*/ 9359950 h 23759927"/>
              <a:gd name="connsiteX671" fmla="*/ 5760012 w 23760003"/>
              <a:gd name="connsiteY671" fmla="*/ 8639936 h 23759927"/>
              <a:gd name="connsiteX672" fmla="*/ 6480016 w 23760003"/>
              <a:gd name="connsiteY672" fmla="*/ 8639936 h 23759927"/>
              <a:gd name="connsiteX673" fmla="*/ 6480016 w 23760003"/>
              <a:gd name="connsiteY673" fmla="*/ 9359950 h 23759927"/>
              <a:gd name="connsiteX674" fmla="*/ 7200014 w 23760003"/>
              <a:gd name="connsiteY674" fmla="*/ 9359950 h 23759927"/>
              <a:gd name="connsiteX675" fmla="*/ 7200014 w 23760003"/>
              <a:gd name="connsiteY675" fmla="*/ 8639936 h 23759927"/>
              <a:gd name="connsiteX676" fmla="*/ 7200014 w 23760003"/>
              <a:gd name="connsiteY676" fmla="*/ 7919941 h 23759927"/>
              <a:gd name="connsiteX677" fmla="*/ 7920015 w 23760003"/>
              <a:gd name="connsiteY677" fmla="*/ 7919941 h 23759927"/>
              <a:gd name="connsiteX678" fmla="*/ 7200014 w 23760003"/>
              <a:gd name="connsiteY678" fmla="*/ 7199951 h 23759927"/>
              <a:gd name="connsiteX679" fmla="*/ 7920015 w 23760003"/>
              <a:gd name="connsiteY679" fmla="*/ 7199951 h 23759927"/>
              <a:gd name="connsiteX680" fmla="*/ 7920015 w 23760003"/>
              <a:gd name="connsiteY680" fmla="*/ 7919939 h 23759927"/>
              <a:gd name="connsiteX681" fmla="*/ 7200014 w 23760003"/>
              <a:gd name="connsiteY681" fmla="*/ 7919939 h 23759927"/>
              <a:gd name="connsiteX682" fmla="*/ 5760013 w 23760003"/>
              <a:gd name="connsiteY682" fmla="*/ 7199951 h 23759927"/>
              <a:gd name="connsiteX683" fmla="*/ 6480016 w 23760003"/>
              <a:gd name="connsiteY683" fmla="*/ 7199951 h 23759927"/>
              <a:gd name="connsiteX684" fmla="*/ 6480016 w 23760003"/>
              <a:gd name="connsiteY684" fmla="*/ 7919941 h 23759927"/>
              <a:gd name="connsiteX685" fmla="*/ 5760013 w 23760003"/>
              <a:gd name="connsiteY685" fmla="*/ 7919941 h 23759927"/>
              <a:gd name="connsiteX686" fmla="*/ 57 w 23760003"/>
              <a:gd name="connsiteY686" fmla="*/ 7199947 h 23759927"/>
              <a:gd name="connsiteX687" fmla="*/ 720058 w 23760003"/>
              <a:gd name="connsiteY687" fmla="*/ 7199947 h 23759927"/>
              <a:gd name="connsiteX688" fmla="*/ 720058 w 23760003"/>
              <a:gd name="connsiteY688" fmla="*/ 7199951 h 23759927"/>
              <a:gd name="connsiteX689" fmla="*/ 1440064 w 23760003"/>
              <a:gd name="connsiteY689" fmla="*/ 7199951 h 23759927"/>
              <a:gd name="connsiteX690" fmla="*/ 1440064 w 23760003"/>
              <a:gd name="connsiteY690" fmla="*/ 7199947 h 23759927"/>
              <a:gd name="connsiteX691" fmla="*/ 2880069 w 23760003"/>
              <a:gd name="connsiteY691" fmla="*/ 7199947 h 23759927"/>
              <a:gd name="connsiteX692" fmla="*/ 2880069 w 23760003"/>
              <a:gd name="connsiteY692" fmla="*/ 7919939 h 23759927"/>
              <a:gd name="connsiteX693" fmla="*/ 3600063 w 23760003"/>
              <a:gd name="connsiteY693" fmla="*/ 7919939 h 23759927"/>
              <a:gd name="connsiteX694" fmla="*/ 3600063 w 23760003"/>
              <a:gd name="connsiteY694" fmla="*/ 8639936 h 23759927"/>
              <a:gd name="connsiteX695" fmla="*/ 5040054 w 23760003"/>
              <a:gd name="connsiteY695" fmla="*/ 8639936 h 23759927"/>
              <a:gd name="connsiteX696" fmla="*/ 5040054 w 23760003"/>
              <a:gd name="connsiteY696" fmla="*/ 9359950 h 23759927"/>
              <a:gd name="connsiteX697" fmla="*/ 3600060 w 23760003"/>
              <a:gd name="connsiteY697" fmla="*/ 9359950 h 23759927"/>
              <a:gd name="connsiteX698" fmla="*/ 3600060 w 23760003"/>
              <a:gd name="connsiteY698" fmla="*/ 8639936 h 23759927"/>
              <a:gd name="connsiteX699" fmla="*/ 2880069 w 23760003"/>
              <a:gd name="connsiteY699" fmla="*/ 8639936 h 23759927"/>
              <a:gd name="connsiteX700" fmla="*/ 2880069 w 23760003"/>
              <a:gd name="connsiteY700" fmla="*/ 7919941 h 23759927"/>
              <a:gd name="connsiteX701" fmla="*/ 2160062 w 23760003"/>
              <a:gd name="connsiteY701" fmla="*/ 7919941 h 23759927"/>
              <a:gd name="connsiteX702" fmla="*/ 2160062 w 23760003"/>
              <a:gd name="connsiteY702" fmla="*/ 7919939 h 23759927"/>
              <a:gd name="connsiteX703" fmla="*/ 720053 w 23760003"/>
              <a:gd name="connsiteY703" fmla="*/ 7919939 h 23759927"/>
              <a:gd name="connsiteX704" fmla="*/ 720053 w 23760003"/>
              <a:gd name="connsiteY704" fmla="*/ 7919941 h 23759927"/>
              <a:gd name="connsiteX705" fmla="*/ 57 w 23760003"/>
              <a:gd name="connsiteY705" fmla="*/ 7919941 h 23759927"/>
              <a:gd name="connsiteX706" fmla="*/ 16560003 w 23760003"/>
              <a:gd name="connsiteY706" fmla="*/ 6479935 h 23759927"/>
              <a:gd name="connsiteX707" fmla="*/ 17280001 w 23760003"/>
              <a:gd name="connsiteY707" fmla="*/ 6479935 h 23759927"/>
              <a:gd name="connsiteX708" fmla="*/ 17280001 w 23760003"/>
              <a:gd name="connsiteY708" fmla="*/ 7199947 h 23759927"/>
              <a:gd name="connsiteX709" fmla="*/ 16560003 w 23760003"/>
              <a:gd name="connsiteY709" fmla="*/ 7199947 h 23759927"/>
              <a:gd name="connsiteX710" fmla="*/ 19440003 w 23760003"/>
              <a:gd name="connsiteY710" fmla="*/ 5759935 h 23759927"/>
              <a:gd name="connsiteX711" fmla="*/ 20880003 w 23760003"/>
              <a:gd name="connsiteY711" fmla="*/ 5759935 h 23759927"/>
              <a:gd name="connsiteX712" fmla="*/ 20880003 w 23760003"/>
              <a:gd name="connsiteY712" fmla="*/ 6479935 h 23759927"/>
              <a:gd name="connsiteX713" fmla="*/ 22320003 w 23760003"/>
              <a:gd name="connsiteY713" fmla="*/ 6479935 h 23759927"/>
              <a:gd name="connsiteX714" fmla="*/ 22320003 w 23760003"/>
              <a:gd name="connsiteY714" fmla="*/ 7199947 h 23759927"/>
              <a:gd name="connsiteX715" fmla="*/ 23040003 w 23760003"/>
              <a:gd name="connsiteY715" fmla="*/ 7199947 h 23759927"/>
              <a:gd name="connsiteX716" fmla="*/ 23040003 w 23760003"/>
              <a:gd name="connsiteY716" fmla="*/ 5759935 h 23759927"/>
              <a:gd name="connsiteX717" fmla="*/ 23760003 w 23760003"/>
              <a:gd name="connsiteY717" fmla="*/ 5759935 h 23759927"/>
              <a:gd name="connsiteX718" fmla="*/ 23760003 w 23760003"/>
              <a:gd name="connsiteY718" fmla="*/ 7199951 h 23759927"/>
              <a:gd name="connsiteX719" fmla="*/ 23040003 w 23760003"/>
              <a:gd name="connsiteY719" fmla="*/ 7199951 h 23759927"/>
              <a:gd name="connsiteX720" fmla="*/ 23040003 w 23760003"/>
              <a:gd name="connsiteY720" fmla="*/ 7919939 h 23759927"/>
              <a:gd name="connsiteX721" fmla="*/ 22320003 w 23760003"/>
              <a:gd name="connsiteY721" fmla="*/ 7919939 h 23759927"/>
              <a:gd name="connsiteX722" fmla="*/ 22320003 w 23760003"/>
              <a:gd name="connsiteY722" fmla="*/ 8639934 h 23759927"/>
              <a:gd name="connsiteX723" fmla="*/ 23040001 w 23760003"/>
              <a:gd name="connsiteY723" fmla="*/ 8639934 h 23759927"/>
              <a:gd name="connsiteX724" fmla="*/ 23040001 w 23760003"/>
              <a:gd name="connsiteY724" fmla="*/ 9359950 h 23759927"/>
              <a:gd name="connsiteX725" fmla="*/ 23760001 w 23760003"/>
              <a:gd name="connsiteY725" fmla="*/ 9359950 h 23759927"/>
              <a:gd name="connsiteX726" fmla="*/ 23760001 w 23760003"/>
              <a:gd name="connsiteY726" fmla="*/ 10079946 h 23759927"/>
              <a:gd name="connsiteX727" fmla="*/ 23040001 w 23760003"/>
              <a:gd name="connsiteY727" fmla="*/ 10079946 h 23759927"/>
              <a:gd name="connsiteX728" fmla="*/ 23040001 w 23760003"/>
              <a:gd name="connsiteY728" fmla="*/ 10799935 h 23759927"/>
              <a:gd name="connsiteX729" fmla="*/ 22320003 w 23760003"/>
              <a:gd name="connsiteY729" fmla="*/ 10799935 h 23759927"/>
              <a:gd name="connsiteX730" fmla="*/ 22320003 w 23760003"/>
              <a:gd name="connsiteY730" fmla="*/ 11519932 h 23759927"/>
              <a:gd name="connsiteX731" fmla="*/ 20880003 w 23760003"/>
              <a:gd name="connsiteY731" fmla="*/ 11519932 h 23759927"/>
              <a:gd name="connsiteX732" fmla="*/ 20880003 w 23760003"/>
              <a:gd name="connsiteY732" fmla="*/ 11519929 h 23759927"/>
              <a:gd name="connsiteX733" fmla="*/ 20160003 w 23760003"/>
              <a:gd name="connsiteY733" fmla="*/ 11519929 h 23759927"/>
              <a:gd name="connsiteX734" fmla="*/ 20160003 w 23760003"/>
              <a:gd name="connsiteY734" fmla="*/ 10799935 h 23759927"/>
              <a:gd name="connsiteX735" fmla="*/ 20880001 w 23760003"/>
              <a:gd name="connsiteY735" fmla="*/ 10799935 h 23759927"/>
              <a:gd name="connsiteX736" fmla="*/ 20880001 w 23760003"/>
              <a:gd name="connsiteY736" fmla="*/ 10079946 h 23759927"/>
              <a:gd name="connsiteX737" fmla="*/ 22320003 w 23760003"/>
              <a:gd name="connsiteY737" fmla="*/ 10079946 h 23759927"/>
              <a:gd name="connsiteX738" fmla="*/ 22320003 w 23760003"/>
              <a:gd name="connsiteY738" fmla="*/ 9359950 h 23759927"/>
              <a:gd name="connsiteX739" fmla="*/ 22320003 w 23760003"/>
              <a:gd name="connsiteY739" fmla="*/ 8639936 h 23759927"/>
              <a:gd name="connsiteX740" fmla="*/ 21600003 w 23760003"/>
              <a:gd name="connsiteY740" fmla="*/ 8639936 h 23759927"/>
              <a:gd name="connsiteX741" fmla="*/ 21600003 w 23760003"/>
              <a:gd name="connsiteY741" fmla="*/ 8639934 h 23759927"/>
              <a:gd name="connsiteX742" fmla="*/ 20160003 w 23760003"/>
              <a:gd name="connsiteY742" fmla="*/ 8639934 h 23759927"/>
              <a:gd name="connsiteX743" fmla="*/ 20160003 w 23760003"/>
              <a:gd name="connsiteY743" fmla="*/ 7919939 h 23759927"/>
              <a:gd name="connsiteX744" fmla="*/ 20160003 w 23760003"/>
              <a:gd name="connsiteY744" fmla="*/ 7199947 h 23759927"/>
              <a:gd name="connsiteX745" fmla="*/ 20880001 w 23760003"/>
              <a:gd name="connsiteY745" fmla="*/ 7199947 h 23759927"/>
              <a:gd name="connsiteX746" fmla="*/ 20880001 w 23760003"/>
              <a:gd name="connsiteY746" fmla="*/ 7919939 h 23759927"/>
              <a:gd name="connsiteX747" fmla="*/ 21600003 w 23760003"/>
              <a:gd name="connsiteY747" fmla="*/ 7919939 h 23759927"/>
              <a:gd name="connsiteX748" fmla="*/ 21600003 w 23760003"/>
              <a:gd name="connsiteY748" fmla="*/ 7199947 h 23759927"/>
              <a:gd name="connsiteX749" fmla="*/ 20880001 w 23760003"/>
              <a:gd name="connsiteY749" fmla="*/ 7199947 h 23759927"/>
              <a:gd name="connsiteX750" fmla="*/ 20880001 w 23760003"/>
              <a:gd name="connsiteY750" fmla="*/ 6479935 h 23759927"/>
              <a:gd name="connsiteX751" fmla="*/ 20160003 w 23760003"/>
              <a:gd name="connsiteY751" fmla="*/ 6479935 h 23759927"/>
              <a:gd name="connsiteX752" fmla="*/ 20160003 w 23760003"/>
              <a:gd name="connsiteY752" fmla="*/ 7199947 h 23759927"/>
              <a:gd name="connsiteX753" fmla="*/ 19440001 w 23760003"/>
              <a:gd name="connsiteY753" fmla="*/ 7199947 h 23759927"/>
              <a:gd name="connsiteX754" fmla="*/ 19440001 w 23760003"/>
              <a:gd name="connsiteY754" fmla="*/ 8639936 h 23759927"/>
              <a:gd name="connsiteX755" fmla="*/ 18720001 w 23760003"/>
              <a:gd name="connsiteY755" fmla="*/ 8639936 h 23759927"/>
              <a:gd name="connsiteX756" fmla="*/ 18720001 w 23760003"/>
              <a:gd name="connsiteY756" fmla="*/ 8639934 h 23759927"/>
              <a:gd name="connsiteX757" fmla="*/ 18000003 w 23760003"/>
              <a:gd name="connsiteY757" fmla="*/ 8639934 h 23759927"/>
              <a:gd name="connsiteX758" fmla="*/ 18000003 w 23760003"/>
              <a:gd name="connsiteY758" fmla="*/ 8639936 h 23759927"/>
              <a:gd name="connsiteX759" fmla="*/ 17280003 w 23760003"/>
              <a:gd name="connsiteY759" fmla="*/ 8639936 h 23759927"/>
              <a:gd name="connsiteX760" fmla="*/ 17280003 w 23760003"/>
              <a:gd name="connsiteY760" fmla="*/ 8639934 h 23759927"/>
              <a:gd name="connsiteX761" fmla="*/ 17280001 w 23760003"/>
              <a:gd name="connsiteY761" fmla="*/ 8639934 h 23759927"/>
              <a:gd name="connsiteX762" fmla="*/ 17280001 w 23760003"/>
              <a:gd name="connsiteY762" fmla="*/ 7199947 h 23759927"/>
              <a:gd name="connsiteX763" fmla="*/ 18720001 w 23760003"/>
              <a:gd name="connsiteY763" fmla="*/ 7199947 h 23759927"/>
              <a:gd name="connsiteX764" fmla="*/ 18720001 w 23760003"/>
              <a:gd name="connsiteY764" fmla="*/ 6479935 h 23759927"/>
              <a:gd name="connsiteX765" fmla="*/ 19440003 w 23760003"/>
              <a:gd name="connsiteY765" fmla="*/ 6479935 h 23759927"/>
              <a:gd name="connsiteX766" fmla="*/ 6480016 w 23760003"/>
              <a:gd name="connsiteY766" fmla="*/ 5759935 h 23759927"/>
              <a:gd name="connsiteX767" fmla="*/ 7200014 w 23760003"/>
              <a:gd name="connsiteY767" fmla="*/ 5759935 h 23759927"/>
              <a:gd name="connsiteX768" fmla="*/ 7200014 w 23760003"/>
              <a:gd name="connsiteY768" fmla="*/ 5759938 h 23759927"/>
              <a:gd name="connsiteX769" fmla="*/ 9360027 w 23760003"/>
              <a:gd name="connsiteY769" fmla="*/ 5759938 h 23759927"/>
              <a:gd name="connsiteX770" fmla="*/ 9360027 w 23760003"/>
              <a:gd name="connsiteY770" fmla="*/ 6479935 h 23759927"/>
              <a:gd name="connsiteX771" fmla="*/ 10080030 w 23760003"/>
              <a:gd name="connsiteY771" fmla="*/ 6479935 h 23759927"/>
              <a:gd name="connsiteX772" fmla="*/ 10080030 w 23760003"/>
              <a:gd name="connsiteY772" fmla="*/ 7199947 h 23759927"/>
              <a:gd name="connsiteX773" fmla="*/ 9360022 w 23760003"/>
              <a:gd name="connsiteY773" fmla="*/ 7199947 h 23759927"/>
              <a:gd name="connsiteX774" fmla="*/ 9360022 w 23760003"/>
              <a:gd name="connsiteY774" fmla="*/ 6479935 h 23759927"/>
              <a:gd name="connsiteX775" fmla="*/ 7920015 w 23760003"/>
              <a:gd name="connsiteY775" fmla="*/ 6479935 h 23759927"/>
              <a:gd name="connsiteX776" fmla="*/ 7920015 w 23760003"/>
              <a:gd name="connsiteY776" fmla="*/ 7199947 h 23759927"/>
              <a:gd name="connsiteX777" fmla="*/ 7200014 w 23760003"/>
              <a:gd name="connsiteY777" fmla="*/ 7199947 h 23759927"/>
              <a:gd name="connsiteX778" fmla="*/ 7200014 w 23760003"/>
              <a:gd name="connsiteY778" fmla="*/ 7199951 h 23759927"/>
              <a:gd name="connsiteX779" fmla="*/ 6480016 w 23760003"/>
              <a:gd name="connsiteY779" fmla="*/ 7199951 h 23759927"/>
              <a:gd name="connsiteX780" fmla="*/ 6480016 w 23760003"/>
              <a:gd name="connsiteY780" fmla="*/ 7199947 h 23759927"/>
              <a:gd name="connsiteX781" fmla="*/ 5760013 w 23760003"/>
              <a:gd name="connsiteY781" fmla="*/ 7199947 h 23759927"/>
              <a:gd name="connsiteX782" fmla="*/ 5760013 w 23760003"/>
              <a:gd name="connsiteY782" fmla="*/ 7199951 h 23759927"/>
              <a:gd name="connsiteX783" fmla="*/ 5040063 w 23760003"/>
              <a:gd name="connsiteY783" fmla="*/ 7199951 h 23759927"/>
              <a:gd name="connsiteX784" fmla="*/ 5040063 w 23760003"/>
              <a:gd name="connsiteY784" fmla="*/ 7919939 h 23759927"/>
              <a:gd name="connsiteX785" fmla="*/ 5760012 w 23760003"/>
              <a:gd name="connsiteY785" fmla="*/ 7919939 h 23759927"/>
              <a:gd name="connsiteX786" fmla="*/ 5760012 w 23760003"/>
              <a:gd name="connsiteY786" fmla="*/ 8639936 h 23759927"/>
              <a:gd name="connsiteX787" fmla="*/ 5040063 w 23760003"/>
              <a:gd name="connsiteY787" fmla="*/ 8639936 h 23759927"/>
              <a:gd name="connsiteX788" fmla="*/ 5040063 w 23760003"/>
              <a:gd name="connsiteY788" fmla="*/ 7919941 h 23759927"/>
              <a:gd name="connsiteX789" fmla="*/ 3600068 w 23760003"/>
              <a:gd name="connsiteY789" fmla="*/ 7919941 h 23759927"/>
              <a:gd name="connsiteX790" fmla="*/ 3600068 w 23760003"/>
              <a:gd name="connsiteY790" fmla="*/ 7199951 h 23759927"/>
              <a:gd name="connsiteX791" fmla="*/ 4320077 w 23760003"/>
              <a:gd name="connsiteY791" fmla="*/ 7199951 h 23759927"/>
              <a:gd name="connsiteX792" fmla="*/ 4320077 w 23760003"/>
              <a:gd name="connsiteY792" fmla="*/ 7199947 h 23759927"/>
              <a:gd name="connsiteX793" fmla="*/ 5040063 w 23760003"/>
              <a:gd name="connsiteY793" fmla="*/ 7199947 h 23759927"/>
              <a:gd name="connsiteX794" fmla="*/ 5040063 w 23760003"/>
              <a:gd name="connsiteY794" fmla="*/ 6479935 h 23759927"/>
              <a:gd name="connsiteX795" fmla="*/ 4320077 w 23760003"/>
              <a:gd name="connsiteY795" fmla="*/ 6479935 h 23759927"/>
              <a:gd name="connsiteX796" fmla="*/ 4320077 w 23760003"/>
              <a:gd name="connsiteY796" fmla="*/ 7199947 h 23759927"/>
              <a:gd name="connsiteX797" fmla="*/ 3600068 w 23760003"/>
              <a:gd name="connsiteY797" fmla="*/ 7199947 h 23759927"/>
              <a:gd name="connsiteX798" fmla="*/ 3600068 w 23760003"/>
              <a:gd name="connsiteY798" fmla="*/ 7199951 h 23759927"/>
              <a:gd name="connsiteX799" fmla="*/ 2880074 w 23760003"/>
              <a:gd name="connsiteY799" fmla="*/ 7199951 h 23759927"/>
              <a:gd name="connsiteX800" fmla="*/ 2880074 w 23760003"/>
              <a:gd name="connsiteY800" fmla="*/ 6479935 h 23759927"/>
              <a:gd name="connsiteX801" fmla="*/ 1440064 w 23760003"/>
              <a:gd name="connsiteY801" fmla="*/ 6479935 h 23759927"/>
              <a:gd name="connsiteX802" fmla="*/ 1440064 w 23760003"/>
              <a:gd name="connsiteY802" fmla="*/ 7199947 h 23759927"/>
              <a:gd name="connsiteX803" fmla="*/ 720058 w 23760003"/>
              <a:gd name="connsiteY803" fmla="*/ 7199947 h 23759927"/>
              <a:gd name="connsiteX804" fmla="*/ 720058 w 23760003"/>
              <a:gd name="connsiteY804" fmla="*/ 6479935 h 23759927"/>
              <a:gd name="connsiteX805" fmla="*/ 720062 w 23760003"/>
              <a:gd name="connsiteY805" fmla="*/ 6479935 h 23759927"/>
              <a:gd name="connsiteX806" fmla="*/ 720062 w 23760003"/>
              <a:gd name="connsiteY806" fmla="*/ 5759938 h 23759927"/>
              <a:gd name="connsiteX807" fmla="*/ 5760013 w 23760003"/>
              <a:gd name="connsiteY807" fmla="*/ 5759938 h 23759927"/>
              <a:gd name="connsiteX808" fmla="*/ 5760013 w 23760003"/>
              <a:gd name="connsiteY808" fmla="*/ 6479935 h 23759927"/>
              <a:gd name="connsiteX809" fmla="*/ 6480016 w 23760003"/>
              <a:gd name="connsiteY809" fmla="*/ 6479935 h 23759927"/>
              <a:gd name="connsiteX810" fmla="*/ 15120001 w 23760003"/>
              <a:gd name="connsiteY810" fmla="*/ 5039995 h 23759927"/>
              <a:gd name="connsiteX811" fmla="*/ 15840001 w 23760003"/>
              <a:gd name="connsiteY811" fmla="*/ 5039995 h 23759927"/>
              <a:gd name="connsiteX812" fmla="*/ 15840001 w 23760003"/>
              <a:gd name="connsiteY812" fmla="*/ 5759938 h 23759927"/>
              <a:gd name="connsiteX813" fmla="*/ 15120001 w 23760003"/>
              <a:gd name="connsiteY813" fmla="*/ 5759938 h 23759927"/>
              <a:gd name="connsiteX814" fmla="*/ 10800017 w 23760003"/>
              <a:gd name="connsiteY814" fmla="*/ 4320008 h 23759927"/>
              <a:gd name="connsiteX815" fmla="*/ 10800017 w 23760003"/>
              <a:gd name="connsiteY815" fmla="*/ 5039995 h 23759927"/>
              <a:gd name="connsiteX816" fmla="*/ 11520004 w 23760003"/>
              <a:gd name="connsiteY816" fmla="*/ 5039995 h 23759927"/>
              <a:gd name="connsiteX817" fmla="*/ 11520004 w 23760003"/>
              <a:gd name="connsiteY817" fmla="*/ 4320008 h 23759927"/>
              <a:gd name="connsiteX818" fmla="*/ 9360027 w 23760003"/>
              <a:gd name="connsiteY818" fmla="*/ 4320008 h 23759927"/>
              <a:gd name="connsiteX819" fmla="*/ 9360027 w 23760003"/>
              <a:gd name="connsiteY819" fmla="*/ 5039995 h 23759927"/>
              <a:gd name="connsiteX820" fmla="*/ 10080030 w 23760003"/>
              <a:gd name="connsiteY820" fmla="*/ 5039995 h 23759927"/>
              <a:gd name="connsiteX821" fmla="*/ 10080030 w 23760003"/>
              <a:gd name="connsiteY821" fmla="*/ 4320008 h 23759927"/>
              <a:gd name="connsiteX822" fmla="*/ 17280001 w 23760003"/>
              <a:gd name="connsiteY822" fmla="*/ 4320000 h 23759927"/>
              <a:gd name="connsiteX823" fmla="*/ 17999999 w 23760003"/>
              <a:gd name="connsiteY823" fmla="*/ 4320000 h 23759927"/>
              <a:gd name="connsiteX824" fmla="*/ 17999999 w 23760003"/>
              <a:gd name="connsiteY824" fmla="*/ 5759938 h 23759927"/>
              <a:gd name="connsiteX825" fmla="*/ 17280001 w 23760003"/>
              <a:gd name="connsiteY825" fmla="*/ 5759938 h 23759927"/>
              <a:gd name="connsiteX826" fmla="*/ 15840003 w 23760003"/>
              <a:gd name="connsiteY826" fmla="*/ 4320000 h 23759927"/>
              <a:gd name="connsiteX827" fmla="*/ 16560003 w 23760003"/>
              <a:gd name="connsiteY827" fmla="*/ 4320000 h 23759927"/>
              <a:gd name="connsiteX828" fmla="*/ 16560003 w 23760003"/>
              <a:gd name="connsiteY828" fmla="*/ 5039995 h 23759927"/>
              <a:gd name="connsiteX829" fmla="*/ 15840003 w 23760003"/>
              <a:gd name="connsiteY829" fmla="*/ 5039995 h 23759927"/>
              <a:gd name="connsiteX830" fmla="*/ 12960001 w 23760003"/>
              <a:gd name="connsiteY830" fmla="*/ 4320000 h 23759927"/>
              <a:gd name="connsiteX831" fmla="*/ 13680001 w 23760003"/>
              <a:gd name="connsiteY831" fmla="*/ 4320000 h 23759927"/>
              <a:gd name="connsiteX832" fmla="*/ 13680001 w 23760003"/>
              <a:gd name="connsiteY832" fmla="*/ 5759938 h 23759927"/>
              <a:gd name="connsiteX833" fmla="*/ 12960001 w 23760003"/>
              <a:gd name="connsiteY833" fmla="*/ 5759938 h 23759927"/>
              <a:gd name="connsiteX834" fmla="*/ 12960001 w 23760003"/>
              <a:gd name="connsiteY834" fmla="*/ 6479935 h 23759927"/>
              <a:gd name="connsiteX835" fmla="*/ 15840003 w 23760003"/>
              <a:gd name="connsiteY835" fmla="*/ 6479935 h 23759927"/>
              <a:gd name="connsiteX836" fmla="*/ 15840003 w 23760003"/>
              <a:gd name="connsiteY836" fmla="*/ 7199947 h 23759927"/>
              <a:gd name="connsiteX837" fmla="*/ 15840003 w 23760003"/>
              <a:gd name="connsiteY837" fmla="*/ 7919939 h 23759927"/>
              <a:gd name="connsiteX838" fmla="*/ 15120001 w 23760003"/>
              <a:gd name="connsiteY838" fmla="*/ 7919939 h 23759927"/>
              <a:gd name="connsiteX839" fmla="*/ 15120001 w 23760003"/>
              <a:gd name="connsiteY839" fmla="*/ 7919941 h 23759927"/>
              <a:gd name="connsiteX840" fmla="*/ 14400003 w 23760003"/>
              <a:gd name="connsiteY840" fmla="*/ 7919941 h 23759927"/>
              <a:gd name="connsiteX841" fmla="*/ 14400003 w 23760003"/>
              <a:gd name="connsiteY841" fmla="*/ 7199947 h 23759927"/>
              <a:gd name="connsiteX842" fmla="*/ 12960001 w 23760003"/>
              <a:gd name="connsiteY842" fmla="*/ 7199947 h 23759927"/>
              <a:gd name="connsiteX843" fmla="*/ 12960001 w 23760003"/>
              <a:gd name="connsiteY843" fmla="*/ 7919939 h 23759927"/>
              <a:gd name="connsiteX844" fmla="*/ 12240002 w 23760003"/>
              <a:gd name="connsiteY844" fmla="*/ 7919939 h 23759927"/>
              <a:gd name="connsiteX845" fmla="*/ 12240002 w 23760003"/>
              <a:gd name="connsiteY845" fmla="*/ 7919941 h 23759927"/>
              <a:gd name="connsiteX846" fmla="*/ 11520004 w 23760003"/>
              <a:gd name="connsiteY846" fmla="*/ 7919941 h 23759927"/>
              <a:gd name="connsiteX847" fmla="*/ 11520004 w 23760003"/>
              <a:gd name="connsiteY847" fmla="*/ 7919939 h 23759927"/>
              <a:gd name="connsiteX848" fmla="*/ 10800017 w 23760003"/>
              <a:gd name="connsiteY848" fmla="*/ 7919939 h 23759927"/>
              <a:gd name="connsiteX849" fmla="*/ 10800017 w 23760003"/>
              <a:gd name="connsiteY849" fmla="*/ 7919941 h 23759927"/>
              <a:gd name="connsiteX850" fmla="*/ 9360022 w 23760003"/>
              <a:gd name="connsiteY850" fmla="*/ 7919941 h 23759927"/>
              <a:gd name="connsiteX851" fmla="*/ 9360022 w 23760003"/>
              <a:gd name="connsiteY851" fmla="*/ 7199951 h 23759927"/>
              <a:gd name="connsiteX852" fmla="*/ 10080030 w 23760003"/>
              <a:gd name="connsiteY852" fmla="*/ 7199951 h 23759927"/>
              <a:gd name="connsiteX853" fmla="*/ 10080030 w 23760003"/>
              <a:gd name="connsiteY853" fmla="*/ 7199947 h 23759927"/>
              <a:gd name="connsiteX854" fmla="*/ 10800017 w 23760003"/>
              <a:gd name="connsiteY854" fmla="*/ 7199947 h 23759927"/>
              <a:gd name="connsiteX855" fmla="*/ 10800017 w 23760003"/>
              <a:gd name="connsiteY855" fmla="*/ 6479935 h 23759927"/>
              <a:gd name="connsiteX856" fmla="*/ 10080030 w 23760003"/>
              <a:gd name="connsiteY856" fmla="*/ 6479935 h 23759927"/>
              <a:gd name="connsiteX857" fmla="*/ 10080030 w 23760003"/>
              <a:gd name="connsiteY857" fmla="*/ 5759938 h 23759927"/>
              <a:gd name="connsiteX858" fmla="*/ 11520004 w 23760003"/>
              <a:gd name="connsiteY858" fmla="*/ 5759938 h 23759927"/>
              <a:gd name="connsiteX859" fmla="*/ 11520004 w 23760003"/>
              <a:gd name="connsiteY859" fmla="*/ 6479935 h 23759927"/>
              <a:gd name="connsiteX860" fmla="*/ 12240002 w 23760003"/>
              <a:gd name="connsiteY860" fmla="*/ 6479935 h 23759927"/>
              <a:gd name="connsiteX861" fmla="*/ 12240002 w 23760003"/>
              <a:gd name="connsiteY861" fmla="*/ 5759935 h 23759927"/>
              <a:gd name="connsiteX862" fmla="*/ 12960001 w 23760003"/>
              <a:gd name="connsiteY862" fmla="*/ 5759935 h 23759927"/>
              <a:gd name="connsiteX863" fmla="*/ 66 w 23760003"/>
              <a:gd name="connsiteY863" fmla="*/ 4320000 h 23759927"/>
              <a:gd name="connsiteX864" fmla="*/ 73 w 23760003"/>
              <a:gd name="connsiteY864" fmla="*/ 4320000 h 23759927"/>
              <a:gd name="connsiteX865" fmla="*/ 73 w 23760003"/>
              <a:gd name="connsiteY865" fmla="*/ 4320014 h 23759927"/>
              <a:gd name="connsiteX866" fmla="*/ 720072 w 23760003"/>
              <a:gd name="connsiteY866" fmla="*/ 4320014 h 23759927"/>
              <a:gd name="connsiteX867" fmla="*/ 720072 w 23760003"/>
              <a:gd name="connsiteY867" fmla="*/ 4320000 h 23759927"/>
              <a:gd name="connsiteX868" fmla="*/ 4320094 w 23760003"/>
              <a:gd name="connsiteY868" fmla="*/ 4320000 h 23759927"/>
              <a:gd name="connsiteX869" fmla="*/ 4320094 w 23760003"/>
              <a:gd name="connsiteY869" fmla="*/ 4320014 h 23759927"/>
              <a:gd name="connsiteX870" fmla="*/ 5040071 w 23760003"/>
              <a:gd name="connsiteY870" fmla="*/ 4320014 h 23759927"/>
              <a:gd name="connsiteX871" fmla="*/ 5040071 w 23760003"/>
              <a:gd name="connsiteY871" fmla="*/ 5039995 h 23759927"/>
              <a:gd name="connsiteX872" fmla="*/ 66 w 23760003"/>
              <a:gd name="connsiteY872" fmla="*/ 5039995 h 23759927"/>
              <a:gd name="connsiteX873" fmla="*/ 19440001 w 23760003"/>
              <a:gd name="connsiteY873" fmla="*/ 4319997 h 23759927"/>
              <a:gd name="connsiteX874" fmla="*/ 23040003 w 23760003"/>
              <a:gd name="connsiteY874" fmla="*/ 4319997 h 23759927"/>
              <a:gd name="connsiteX875" fmla="*/ 23040003 w 23760003"/>
              <a:gd name="connsiteY875" fmla="*/ 4320014 h 23759927"/>
              <a:gd name="connsiteX876" fmla="*/ 23760001 w 23760003"/>
              <a:gd name="connsiteY876" fmla="*/ 4320014 h 23759927"/>
              <a:gd name="connsiteX877" fmla="*/ 23760001 w 23760003"/>
              <a:gd name="connsiteY877" fmla="*/ 5039995 h 23759927"/>
              <a:gd name="connsiteX878" fmla="*/ 18720001 w 23760003"/>
              <a:gd name="connsiteY878" fmla="*/ 5039995 h 23759927"/>
              <a:gd name="connsiteX879" fmla="*/ 18720001 w 23760003"/>
              <a:gd name="connsiteY879" fmla="*/ 4320014 h 23759927"/>
              <a:gd name="connsiteX880" fmla="*/ 19440001 w 23760003"/>
              <a:gd name="connsiteY880" fmla="*/ 4320014 h 23759927"/>
              <a:gd name="connsiteX881" fmla="*/ 14400003 w 23760003"/>
              <a:gd name="connsiteY881" fmla="*/ 3600001 h 23759927"/>
              <a:gd name="connsiteX882" fmla="*/ 15120001 w 23760003"/>
              <a:gd name="connsiteY882" fmla="*/ 3600001 h 23759927"/>
              <a:gd name="connsiteX883" fmla="*/ 15120001 w 23760003"/>
              <a:gd name="connsiteY883" fmla="*/ 5039995 h 23759927"/>
              <a:gd name="connsiteX884" fmla="*/ 14400003 w 23760003"/>
              <a:gd name="connsiteY884" fmla="*/ 5039995 h 23759927"/>
              <a:gd name="connsiteX885" fmla="*/ 7200014 w 23760003"/>
              <a:gd name="connsiteY885" fmla="*/ 3599998 h 23759927"/>
              <a:gd name="connsiteX886" fmla="*/ 7920020 w 23760003"/>
              <a:gd name="connsiteY886" fmla="*/ 3599998 h 23759927"/>
              <a:gd name="connsiteX887" fmla="*/ 7920020 w 23760003"/>
              <a:gd name="connsiteY887" fmla="*/ 3600009 h 23759927"/>
              <a:gd name="connsiteX888" fmla="*/ 8640012 w 23760003"/>
              <a:gd name="connsiteY888" fmla="*/ 3600009 h 23759927"/>
              <a:gd name="connsiteX889" fmla="*/ 8640012 w 23760003"/>
              <a:gd name="connsiteY889" fmla="*/ 4320000 h 23759927"/>
              <a:gd name="connsiteX890" fmla="*/ 9360027 w 23760003"/>
              <a:gd name="connsiteY890" fmla="*/ 4320000 h 23759927"/>
              <a:gd name="connsiteX891" fmla="*/ 9360027 w 23760003"/>
              <a:gd name="connsiteY891" fmla="*/ 3599998 h 23759927"/>
              <a:gd name="connsiteX892" fmla="*/ 9360034 w 23760003"/>
              <a:gd name="connsiteY892" fmla="*/ 3599998 h 23759927"/>
              <a:gd name="connsiteX893" fmla="*/ 9360034 w 23760003"/>
              <a:gd name="connsiteY893" fmla="*/ 3600001 h 23759927"/>
              <a:gd name="connsiteX894" fmla="*/ 10080030 w 23760003"/>
              <a:gd name="connsiteY894" fmla="*/ 3600001 h 23759927"/>
              <a:gd name="connsiteX895" fmla="*/ 10080030 w 23760003"/>
              <a:gd name="connsiteY895" fmla="*/ 4320000 h 23759927"/>
              <a:gd name="connsiteX896" fmla="*/ 10800017 w 23760003"/>
              <a:gd name="connsiteY896" fmla="*/ 4320000 h 23759927"/>
              <a:gd name="connsiteX897" fmla="*/ 10800017 w 23760003"/>
              <a:gd name="connsiteY897" fmla="*/ 3600001 h 23759927"/>
              <a:gd name="connsiteX898" fmla="*/ 11520004 w 23760003"/>
              <a:gd name="connsiteY898" fmla="*/ 3600001 h 23759927"/>
              <a:gd name="connsiteX899" fmla="*/ 11520004 w 23760003"/>
              <a:gd name="connsiteY899" fmla="*/ 4320000 h 23759927"/>
              <a:gd name="connsiteX900" fmla="*/ 12240000 w 23760003"/>
              <a:gd name="connsiteY900" fmla="*/ 4320000 h 23759927"/>
              <a:gd name="connsiteX901" fmla="*/ 12240000 w 23760003"/>
              <a:gd name="connsiteY901" fmla="*/ 5039995 h 23759927"/>
              <a:gd name="connsiteX902" fmla="*/ 12240000 w 23760003"/>
              <a:gd name="connsiteY902" fmla="*/ 5759938 h 23759927"/>
              <a:gd name="connsiteX903" fmla="*/ 11520004 w 23760003"/>
              <a:gd name="connsiteY903" fmla="*/ 5759938 h 23759927"/>
              <a:gd name="connsiteX904" fmla="*/ 11520004 w 23760003"/>
              <a:gd name="connsiteY904" fmla="*/ 5759935 h 23759927"/>
              <a:gd name="connsiteX905" fmla="*/ 10080030 w 23760003"/>
              <a:gd name="connsiteY905" fmla="*/ 5759935 h 23759927"/>
              <a:gd name="connsiteX906" fmla="*/ 10080030 w 23760003"/>
              <a:gd name="connsiteY906" fmla="*/ 5759938 h 23759927"/>
              <a:gd name="connsiteX907" fmla="*/ 9360027 w 23760003"/>
              <a:gd name="connsiteY907" fmla="*/ 5759938 h 23759927"/>
              <a:gd name="connsiteX908" fmla="*/ 9360027 w 23760003"/>
              <a:gd name="connsiteY908" fmla="*/ 5759935 h 23759927"/>
              <a:gd name="connsiteX909" fmla="*/ 7200014 w 23760003"/>
              <a:gd name="connsiteY909" fmla="*/ 5759935 h 23759927"/>
              <a:gd name="connsiteX910" fmla="*/ 7200014 w 23760003"/>
              <a:gd name="connsiteY910" fmla="*/ 5039995 h 23759927"/>
              <a:gd name="connsiteX911" fmla="*/ 7200014 w 23760003"/>
              <a:gd name="connsiteY911" fmla="*/ 4320008 h 23759927"/>
              <a:gd name="connsiteX912" fmla="*/ 7920017 w 23760003"/>
              <a:gd name="connsiteY912" fmla="*/ 4320008 h 23759927"/>
              <a:gd name="connsiteX913" fmla="*/ 7920017 w 23760003"/>
              <a:gd name="connsiteY913" fmla="*/ 5039995 h 23759927"/>
              <a:gd name="connsiteX914" fmla="*/ 8640012 w 23760003"/>
              <a:gd name="connsiteY914" fmla="*/ 5039995 h 23759927"/>
              <a:gd name="connsiteX915" fmla="*/ 8640012 w 23760003"/>
              <a:gd name="connsiteY915" fmla="*/ 4320008 h 23759927"/>
              <a:gd name="connsiteX916" fmla="*/ 7920017 w 23760003"/>
              <a:gd name="connsiteY916" fmla="*/ 4320008 h 23759927"/>
              <a:gd name="connsiteX917" fmla="*/ 7920017 w 23760003"/>
              <a:gd name="connsiteY917" fmla="*/ 4320000 h 23759927"/>
              <a:gd name="connsiteX918" fmla="*/ 7200014 w 23760003"/>
              <a:gd name="connsiteY918" fmla="*/ 4320000 h 23759927"/>
              <a:gd name="connsiteX919" fmla="*/ 16560003 w 23760003"/>
              <a:gd name="connsiteY919" fmla="*/ 2880014 h 23759927"/>
              <a:gd name="connsiteX920" fmla="*/ 17280001 w 23760003"/>
              <a:gd name="connsiteY920" fmla="*/ 2880014 h 23759927"/>
              <a:gd name="connsiteX921" fmla="*/ 17280001 w 23760003"/>
              <a:gd name="connsiteY921" fmla="*/ 3600001 h 23759927"/>
              <a:gd name="connsiteX922" fmla="*/ 16560003 w 23760003"/>
              <a:gd name="connsiteY922" fmla="*/ 3600001 h 23759927"/>
              <a:gd name="connsiteX923" fmla="*/ 5760016 w 23760003"/>
              <a:gd name="connsiteY923" fmla="*/ 2880014 h 23759927"/>
              <a:gd name="connsiteX924" fmla="*/ 6480020 w 23760003"/>
              <a:gd name="connsiteY924" fmla="*/ 2880014 h 23759927"/>
              <a:gd name="connsiteX925" fmla="*/ 6480020 w 23760003"/>
              <a:gd name="connsiteY925" fmla="*/ 5039995 h 23759927"/>
              <a:gd name="connsiteX926" fmla="*/ 5760016 w 23760003"/>
              <a:gd name="connsiteY926" fmla="*/ 5039995 h 23759927"/>
              <a:gd name="connsiteX927" fmla="*/ 14400003 w 23760003"/>
              <a:gd name="connsiteY927" fmla="*/ 2160000 h 23759927"/>
              <a:gd name="connsiteX928" fmla="*/ 15120001 w 23760003"/>
              <a:gd name="connsiteY928" fmla="*/ 2160000 h 23759927"/>
              <a:gd name="connsiteX929" fmla="*/ 15120001 w 23760003"/>
              <a:gd name="connsiteY929" fmla="*/ 2880014 h 23759927"/>
              <a:gd name="connsiteX930" fmla="*/ 15840003 w 23760003"/>
              <a:gd name="connsiteY930" fmla="*/ 2880014 h 23759927"/>
              <a:gd name="connsiteX931" fmla="*/ 15840003 w 23760003"/>
              <a:gd name="connsiteY931" fmla="*/ 3600001 h 23759927"/>
              <a:gd name="connsiteX932" fmla="*/ 15120001 w 23760003"/>
              <a:gd name="connsiteY932" fmla="*/ 3600001 h 23759927"/>
              <a:gd name="connsiteX933" fmla="*/ 15120001 w 23760003"/>
              <a:gd name="connsiteY933" fmla="*/ 3599998 h 23759927"/>
              <a:gd name="connsiteX934" fmla="*/ 14400003 w 23760003"/>
              <a:gd name="connsiteY934" fmla="*/ 3599998 h 23759927"/>
              <a:gd name="connsiteX935" fmla="*/ 14400003 w 23760003"/>
              <a:gd name="connsiteY935" fmla="*/ 2880014 h 23759927"/>
              <a:gd name="connsiteX936" fmla="*/ 9360034 w 23760003"/>
              <a:gd name="connsiteY936" fmla="*/ 2160000 h 23759927"/>
              <a:gd name="connsiteX937" fmla="*/ 10080030 w 23760003"/>
              <a:gd name="connsiteY937" fmla="*/ 2160000 h 23759927"/>
              <a:gd name="connsiteX938" fmla="*/ 10080030 w 23760003"/>
              <a:gd name="connsiteY938" fmla="*/ 2160002 h 23759927"/>
              <a:gd name="connsiteX939" fmla="*/ 10800017 w 23760003"/>
              <a:gd name="connsiteY939" fmla="*/ 2160002 h 23759927"/>
              <a:gd name="connsiteX940" fmla="*/ 10800017 w 23760003"/>
              <a:gd name="connsiteY940" fmla="*/ 2880014 h 23759927"/>
              <a:gd name="connsiteX941" fmla="*/ 11520004 w 23760003"/>
              <a:gd name="connsiteY941" fmla="*/ 2880014 h 23759927"/>
              <a:gd name="connsiteX942" fmla="*/ 11520004 w 23760003"/>
              <a:gd name="connsiteY942" fmla="*/ 3599998 h 23759927"/>
              <a:gd name="connsiteX943" fmla="*/ 10800017 w 23760003"/>
              <a:gd name="connsiteY943" fmla="*/ 3599998 h 23759927"/>
              <a:gd name="connsiteX944" fmla="*/ 10800017 w 23760003"/>
              <a:gd name="connsiteY944" fmla="*/ 3600001 h 23759927"/>
              <a:gd name="connsiteX945" fmla="*/ 10080030 w 23760003"/>
              <a:gd name="connsiteY945" fmla="*/ 3600001 h 23759927"/>
              <a:gd name="connsiteX946" fmla="*/ 10080030 w 23760003"/>
              <a:gd name="connsiteY946" fmla="*/ 3599998 h 23759927"/>
              <a:gd name="connsiteX947" fmla="*/ 9360034 w 23760003"/>
              <a:gd name="connsiteY947" fmla="*/ 3599998 h 23759927"/>
              <a:gd name="connsiteX948" fmla="*/ 9360034 w 23760003"/>
              <a:gd name="connsiteY948" fmla="*/ 2880014 h 23759927"/>
              <a:gd name="connsiteX949" fmla="*/ 20160003 w 23760003"/>
              <a:gd name="connsiteY949" fmla="*/ 1440008 h 23759927"/>
              <a:gd name="connsiteX950" fmla="*/ 22320003 w 23760003"/>
              <a:gd name="connsiteY950" fmla="*/ 1440008 h 23759927"/>
              <a:gd name="connsiteX951" fmla="*/ 22320003 w 23760003"/>
              <a:gd name="connsiteY951" fmla="*/ 3600003 h 23759927"/>
              <a:gd name="connsiteX952" fmla="*/ 20160003 w 23760003"/>
              <a:gd name="connsiteY952" fmla="*/ 3600003 h 23759927"/>
              <a:gd name="connsiteX953" fmla="*/ 11520004 w 23760003"/>
              <a:gd name="connsiteY953" fmla="*/ 1440008 h 23759927"/>
              <a:gd name="connsiteX954" fmla="*/ 12240000 w 23760003"/>
              <a:gd name="connsiteY954" fmla="*/ 1440008 h 23759927"/>
              <a:gd name="connsiteX955" fmla="*/ 12240000 w 23760003"/>
              <a:gd name="connsiteY955" fmla="*/ 2160002 h 23759927"/>
              <a:gd name="connsiteX956" fmla="*/ 11520004 w 23760003"/>
              <a:gd name="connsiteY956" fmla="*/ 2160002 h 23759927"/>
              <a:gd name="connsiteX957" fmla="*/ 10080030 w 23760003"/>
              <a:gd name="connsiteY957" fmla="*/ 1440008 h 23759927"/>
              <a:gd name="connsiteX958" fmla="*/ 10800017 w 23760003"/>
              <a:gd name="connsiteY958" fmla="*/ 1440008 h 23759927"/>
              <a:gd name="connsiteX959" fmla="*/ 10800017 w 23760003"/>
              <a:gd name="connsiteY959" fmla="*/ 2160000 h 23759927"/>
              <a:gd name="connsiteX960" fmla="*/ 10080030 w 23760003"/>
              <a:gd name="connsiteY960" fmla="*/ 2160000 h 23759927"/>
              <a:gd name="connsiteX961" fmla="*/ 1440076 w 23760003"/>
              <a:gd name="connsiteY961" fmla="*/ 1440008 h 23759927"/>
              <a:gd name="connsiteX962" fmla="*/ 3600086 w 23760003"/>
              <a:gd name="connsiteY962" fmla="*/ 1440008 h 23759927"/>
              <a:gd name="connsiteX963" fmla="*/ 3600086 w 23760003"/>
              <a:gd name="connsiteY963" fmla="*/ 3600003 h 23759927"/>
              <a:gd name="connsiteX964" fmla="*/ 1440076 w 23760003"/>
              <a:gd name="connsiteY964" fmla="*/ 3600003 h 23759927"/>
              <a:gd name="connsiteX965" fmla="*/ 4320094 w 23760003"/>
              <a:gd name="connsiteY965" fmla="*/ 719997 h 23759927"/>
              <a:gd name="connsiteX966" fmla="*/ 5040079 w 23760003"/>
              <a:gd name="connsiteY966" fmla="*/ 719997 h 23759927"/>
              <a:gd name="connsiteX967" fmla="*/ 5040079 w 23760003"/>
              <a:gd name="connsiteY967" fmla="*/ 4320014 h 23759927"/>
              <a:gd name="connsiteX968" fmla="*/ 5040071 w 23760003"/>
              <a:gd name="connsiteY968" fmla="*/ 4320014 h 23759927"/>
              <a:gd name="connsiteX969" fmla="*/ 5040071 w 23760003"/>
              <a:gd name="connsiteY969" fmla="*/ 4320000 h 23759927"/>
              <a:gd name="connsiteX970" fmla="*/ 4320094 w 23760003"/>
              <a:gd name="connsiteY970" fmla="*/ 4320000 h 23759927"/>
              <a:gd name="connsiteX971" fmla="*/ 18720001 w 23760003"/>
              <a:gd name="connsiteY971" fmla="*/ 719995 h 23759927"/>
              <a:gd name="connsiteX972" fmla="*/ 19440001 w 23760003"/>
              <a:gd name="connsiteY972" fmla="*/ 719995 h 23759927"/>
              <a:gd name="connsiteX973" fmla="*/ 19440001 w 23760003"/>
              <a:gd name="connsiteY973" fmla="*/ 4319997 h 23759927"/>
              <a:gd name="connsiteX974" fmla="*/ 18720001 w 23760003"/>
              <a:gd name="connsiteY974" fmla="*/ 4319997 h 23759927"/>
              <a:gd name="connsiteX975" fmla="*/ 73 w 23760003"/>
              <a:gd name="connsiteY975" fmla="*/ 719995 h 23759927"/>
              <a:gd name="connsiteX976" fmla="*/ 75 w 23760003"/>
              <a:gd name="connsiteY976" fmla="*/ 719995 h 23759927"/>
              <a:gd name="connsiteX977" fmla="*/ 75 w 23760003"/>
              <a:gd name="connsiteY977" fmla="*/ 719997 h 23759927"/>
              <a:gd name="connsiteX978" fmla="*/ 720072 w 23760003"/>
              <a:gd name="connsiteY978" fmla="*/ 719997 h 23759927"/>
              <a:gd name="connsiteX979" fmla="*/ 720072 w 23760003"/>
              <a:gd name="connsiteY979" fmla="*/ 4320000 h 23759927"/>
              <a:gd name="connsiteX980" fmla="*/ 73 w 23760003"/>
              <a:gd name="connsiteY980" fmla="*/ 4320000 h 23759927"/>
              <a:gd name="connsiteX981" fmla="*/ 23760001 w 23760003"/>
              <a:gd name="connsiteY981" fmla="*/ 719994 h 23759927"/>
              <a:gd name="connsiteX982" fmla="*/ 23760003 w 23760003"/>
              <a:gd name="connsiteY982" fmla="*/ 719994 h 23759927"/>
              <a:gd name="connsiteX983" fmla="*/ 23760003 w 23760003"/>
              <a:gd name="connsiteY983" fmla="*/ 4320014 h 23759927"/>
              <a:gd name="connsiteX984" fmla="*/ 23760001 w 23760003"/>
              <a:gd name="connsiteY984" fmla="*/ 4320014 h 23759927"/>
              <a:gd name="connsiteX985" fmla="*/ 23760001 w 23760003"/>
              <a:gd name="connsiteY985" fmla="*/ 4319997 h 23759927"/>
              <a:gd name="connsiteX986" fmla="*/ 23040003 w 23760003"/>
              <a:gd name="connsiteY986" fmla="*/ 4319997 h 23759927"/>
              <a:gd name="connsiteX987" fmla="*/ 23040003 w 23760003"/>
              <a:gd name="connsiteY987" fmla="*/ 719995 h 23759927"/>
              <a:gd name="connsiteX988" fmla="*/ 23760001 w 23760003"/>
              <a:gd name="connsiteY988" fmla="*/ 719995 h 23759927"/>
              <a:gd name="connsiteX989" fmla="*/ 12240002 w 23760003"/>
              <a:gd name="connsiteY989" fmla="*/ 719994 h 23759927"/>
              <a:gd name="connsiteX990" fmla="*/ 13680001 w 23760003"/>
              <a:gd name="connsiteY990" fmla="*/ 719994 h 23759927"/>
              <a:gd name="connsiteX991" fmla="*/ 13680001 w 23760003"/>
              <a:gd name="connsiteY991" fmla="*/ 719995 h 23759927"/>
              <a:gd name="connsiteX992" fmla="*/ 13680002 w 23760003"/>
              <a:gd name="connsiteY992" fmla="*/ 719995 h 23759927"/>
              <a:gd name="connsiteX993" fmla="*/ 13680002 w 23760003"/>
              <a:gd name="connsiteY993" fmla="*/ 1440008 h 23759927"/>
              <a:gd name="connsiteX994" fmla="*/ 13680001 w 23760003"/>
              <a:gd name="connsiteY994" fmla="*/ 1440008 h 23759927"/>
              <a:gd name="connsiteX995" fmla="*/ 13680001 w 23760003"/>
              <a:gd name="connsiteY995" fmla="*/ 3600003 h 23759927"/>
              <a:gd name="connsiteX996" fmla="*/ 12960001 w 23760003"/>
              <a:gd name="connsiteY996" fmla="*/ 3600003 h 23759927"/>
              <a:gd name="connsiteX997" fmla="*/ 12960001 w 23760003"/>
              <a:gd name="connsiteY997" fmla="*/ 4320000 h 23759927"/>
              <a:gd name="connsiteX998" fmla="*/ 12240002 w 23760003"/>
              <a:gd name="connsiteY998" fmla="*/ 4320000 h 23759927"/>
              <a:gd name="connsiteX999" fmla="*/ 12240002 w 23760003"/>
              <a:gd name="connsiteY999" fmla="*/ 3599998 h 23759927"/>
              <a:gd name="connsiteX1000" fmla="*/ 12960001 w 23760003"/>
              <a:gd name="connsiteY1000" fmla="*/ 3599998 h 23759927"/>
              <a:gd name="connsiteX1001" fmla="*/ 12960001 w 23760003"/>
              <a:gd name="connsiteY1001" fmla="*/ 1440008 h 23759927"/>
              <a:gd name="connsiteX1002" fmla="*/ 12240002 w 23760003"/>
              <a:gd name="connsiteY1002" fmla="*/ 1440008 h 23759927"/>
              <a:gd name="connsiteX1003" fmla="*/ 13680001 w 23760003"/>
              <a:gd name="connsiteY1003" fmla="*/ 1 h 23759927"/>
              <a:gd name="connsiteX1004" fmla="*/ 15840001 w 23760003"/>
              <a:gd name="connsiteY1004" fmla="*/ 1 h 23759927"/>
              <a:gd name="connsiteX1005" fmla="*/ 15840001 w 23760003"/>
              <a:gd name="connsiteY1005" fmla="*/ 719994 h 23759927"/>
              <a:gd name="connsiteX1006" fmla="*/ 14400003 w 23760003"/>
              <a:gd name="connsiteY1006" fmla="*/ 719994 h 23759927"/>
              <a:gd name="connsiteX1007" fmla="*/ 14400003 w 23760003"/>
              <a:gd name="connsiteY1007" fmla="*/ 719995 h 23759927"/>
              <a:gd name="connsiteX1008" fmla="*/ 13680002 w 23760003"/>
              <a:gd name="connsiteY1008" fmla="*/ 719995 h 23759927"/>
              <a:gd name="connsiteX1009" fmla="*/ 13680002 w 23760003"/>
              <a:gd name="connsiteY1009" fmla="*/ 719994 h 23759927"/>
              <a:gd name="connsiteX1010" fmla="*/ 13680001 w 23760003"/>
              <a:gd name="connsiteY1010" fmla="*/ 719994 h 23759927"/>
              <a:gd name="connsiteX1011" fmla="*/ 10800017 w 23760003"/>
              <a:gd name="connsiteY1011" fmla="*/ 1 h 23759927"/>
              <a:gd name="connsiteX1012" fmla="*/ 11520004 w 23760003"/>
              <a:gd name="connsiteY1012" fmla="*/ 1 h 23759927"/>
              <a:gd name="connsiteX1013" fmla="*/ 11520004 w 23760003"/>
              <a:gd name="connsiteY1013" fmla="*/ 1440008 h 23759927"/>
              <a:gd name="connsiteX1014" fmla="*/ 10800017 w 23760003"/>
              <a:gd name="connsiteY1014" fmla="*/ 1440008 h 23759927"/>
              <a:gd name="connsiteX1015" fmla="*/ 7920020 w 23760003"/>
              <a:gd name="connsiteY1015" fmla="*/ 1 h 23759927"/>
              <a:gd name="connsiteX1016" fmla="*/ 8640014 w 23760003"/>
              <a:gd name="connsiteY1016" fmla="*/ 1 h 23759927"/>
              <a:gd name="connsiteX1017" fmla="*/ 8640014 w 23760003"/>
              <a:gd name="connsiteY1017" fmla="*/ 3600009 h 23759927"/>
              <a:gd name="connsiteX1018" fmla="*/ 8640012 w 23760003"/>
              <a:gd name="connsiteY1018" fmla="*/ 3600009 h 23759927"/>
              <a:gd name="connsiteX1019" fmla="*/ 8640012 w 23760003"/>
              <a:gd name="connsiteY1019" fmla="*/ 3599998 h 23759927"/>
              <a:gd name="connsiteX1020" fmla="*/ 7920020 w 23760003"/>
              <a:gd name="connsiteY1020" fmla="*/ 3599998 h 23759927"/>
              <a:gd name="connsiteX1021" fmla="*/ 5760016 w 23760003"/>
              <a:gd name="connsiteY1021" fmla="*/ 1 h 23759927"/>
              <a:gd name="connsiteX1022" fmla="*/ 6480024 w 23760003"/>
              <a:gd name="connsiteY1022" fmla="*/ 1 h 23759927"/>
              <a:gd name="connsiteX1023" fmla="*/ 6480024 w 23760003"/>
              <a:gd name="connsiteY1023" fmla="*/ 719994 h 23759927"/>
              <a:gd name="connsiteX1024" fmla="*/ 7200014 w 23760003"/>
              <a:gd name="connsiteY1024" fmla="*/ 719994 h 23759927"/>
              <a:gd name="connsiteX1025" fmla="*/ 7200014 w 23760003"/>
              <a:gd name="connsiteY1025" fmla="*/ 2160002 h 23759927"/>
              <a:gd name="connsiteX1026" fmla="*/ 6480024 w 23760003"/>
              <a:gd name="connsiteY1026" fmla="*/ 2160002 h 23759927"/>
              <a:gd name="connsiteX1027" fmla="*/ 6480024 w 23760003"/>
              <a:gd name="connsiteY1027" fmla="*/ 719997 h 23759927"/>
              <a:gd name="connsiteX1028" fmla="*/ 5760016 w 23760003"/>
              <a:gd name="connsiteY1028" fmla="*/ 719997 h 23759927"/>
              <a:gd name="connsiteX1029" fmla="*/ 75 w 23760003"/>
              <a:gd name="connsiteY1029" fmla="*/ 1 h 23759927"/>
              <a:gd name="connsiteX1030" fmla="*/ 5040079 w 23760003"/>
              <a:gd name="connsiteY1030" fmla="*/ 1 h 23759927"/>
              <a:gd name="connsiteX1031" fmla="*/ 5040079 w 23760003"/>
              <a:gd name="connsiteY1031" fmla="*/ 719995 h 23759927"/>
              <a:gd name="connsiteX1032" fmla="*/ 4320094 w 23760003"/>
              <a:gd name="connsiteY1032" fmla="*/ 719995 h 23759927"/>
              <a:gd name="connsiteX1033" fmla="*/ 4320094 w 23760003"/>
              <a:gd name="connsiteY1033" fmla="*/ 719997 h 23759927"/>
              <a:gd name="connsiteX1034" fmla="*/ 720072 w 23760003"/>
              <a:gd name="connsiteY1034" fmla="*/ 719997 h 23759927"/>
              <a:gd name="connsiteX1035" fmla="*/ 720072 w 23760003"/>
              <a:gd name="connsiteY1035" fmla="*/ 719995 h 23759927"/>
              <a:gd name="connsiteX1036" fmla="*/ 75 w 23760003"/>
              <a:gd name="connsiteY1036" fmla="*/ 719995 h 23759927"/>
              <a:gd name="connsiteX1037" fmla="*/ 18720001 w 23760003"/>
              <a:gd name="connsiteY1037" fmla="*/ 0 h 23759927"/>
              <a:gd name="connsiteX1038" fmla="*/ 23760001 w 23760003"/>
              <a:gd name="connsiteY1038" fmla="*/ 0 h 23759927"/>
              <a:gd name="connsiteX1039" fmla="*/ 23760001 w 23760003"/>
              <a:gd name="connsiteY1039" fmla="*/ 719994 h 23759927"/>
              <a:gd name="connsiteX1040" fmla="*/ 23040003 w 23760003"/>
              <a:gd name="connsiteY1040" fmla="*/ 719994 h 23759927"/>
              <a:gd name="connsiteX1041" fmla="*/ 23040003 w 23760003"/>
              <a:gd name="connsiteY1041" fmla="*/ 719995 h 23759927"/>
              <a:gd name="connsiteX1042" fmla="*/ 19440001 w 23760003"/>
              <a:gd name="connsiteY1042" fmla="*/ 719995 h 23759927"/>
              <a:gd name="connsiteX1043" fmla="*/ 19440001 w 23760003"/>
              <a:gd name="connsiteY1043" fmla="*/ 719994 h 23759927"/>
              <a:gd name="connsiteX1044" fmla="*/ 18720001 w 23760003"/>
              <a:gd name="connsiteY1044" fmla="*/ 719994 h 23759927"/>
              <a:gd name="connsiteX1045" fmla="*/ 16560003 w 23760003"/>
              <a:gd name="connsiteY1045" fmla="*/ 0 h 23759927"/>
              <a:gd name="connsiteX1046" fmla="*/ 17280001 w 23760003"/>
              <a:gd name="connsiteY1046" fmla="*/ 0 h 23759927"/>
              <a:gd name="connsiteX1047" fmla="*/ 17280001 w 23760003"/>
              <a:gd name="connsiteY1047" fmla="*/ 719995 h 23759927"/>
              <a:gd name="connsiteX1048" fmla="*/ 16560003 w 23760003"/>
              <a:gd name="connsiteY1048" fmla="*/ 719995 h 23759927"/>
              <a:gd name="connsiteX1049" fmla="*/ 16560003 w 23760003"/>
              <a:gd name="connsiteY1049" fmla="*/ 1440008 h 23759927"/>
              <a:gd name="connsiteX1050" fmla="*/ 16560003 w 23760003"/>
              <a:gd name="connsiteY1050" fmla="*/ 2160000 h 23759927"/>
              <a:gd name="connsiteX1051" fmla="*/ 16560003 w 23760003"/>
              <a:gd name="connsiteY1051" fmla="*/ 2880014 h 23759927"/>
              <a:gd name="connsiteX1052" fmla="*/ 15840003 w 23760003"/>
              <a:gd name="connsiteY1052" fmla="*/ 2880014 h 23759927"/>
              <a:gd name="connsiteX1053" fmla="*/ 15840003 w 23760003"/>
              <a:gd name="connsiteY1053" fmla="*/ 2160000 h 23759927"/>
              <a:gd name="connsiteX1054" fmla="*/ 15120001 w 23760003"/>
              <a:gd name="connsiteY1054" fmla="*/ 2160000 h 23759927"/>
              <a:gd name="connsiteX1055" fmla="*/ 15120001 w 23760003"/>
              <a:gd name="connsiteY1055" fmla="*/ 1440008 h 23759927"/>
              <a:gd name="connsiteX1056" fmla="*/ 14400003 w 23760003"/>
              <a:gd name="connsiteY1056" fmla="*/ 1440008 h 23759927"/>
              <a:gd name="connsiteX1057" fmla="*/ 14400003 w 23760003"/>
              <a:gd name="connsiteY1057" fmla="*/ 719995 h 23759927"/>
              <a:gd name="connsiteX1058" fmla="*/ 15840001 w 23760003"/>
              <a:gd name="connsiteY1058" fmla="*/ 719995 h 23759927"/>
              <a:gd name="connsiteX1059" fmla="*/ 15840001 w 23760003"/>
              <a:gd name="connsiteY1059" fmla="*/ 719994 h 23759927"/>
              <a:gd name="connsiteX1060" fmla="*/ 16560003 w 23760003"/>
              <a:gd name="connsiteY1060" fmla="*/ 719994 h 23759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Lst>
            <a:rect l="l" t="t" r="r" b="b"/>
            <a:pathLst>
              <a:path w="23760003" h="23759927">
                <a:moveTo>
                  <a:pt x="22320003" y="23039927"/>
                </a:moveTo>
                <a:lnTo>
                  <a:pt x="23040001" y="23039927"/>
                </a:lnTo>
                <a:lnTo>
                  <a:pt x="23040001" y="23759927"/>
                </a:lnTo>
                <a:lnTo>
                  <a:pt x="22320003" y="23759927"/>
                </a:lnTo>
                <a:close/>
                <a:moveTo>
                  <a:pt x="19440003" y="23039927"/>
                </a:moveTo>
                <a:lnTo>
                  <a:pt x="20160003" y="23039927"/>
                </a:lnTo>
                <a:lnTo>
                  <a:pt x="20160003" y="23759927"/>
                </a:lnTo>
                <a:lnTo>
                  <a:pt x="19440003" y="23759927"/>
                </a:lnTo>
                <a:close/>
                <a:moveTo>
                  <a:pt x="15840003" y="23039927"/>
                </a:moveTo>
                <a:lnTo>
                  <a:pt x="18720003" y="23039927"/>
                </a:lnTo>
                <a:lnTo>
                  <a:pt x="18720003" y="23759927"/>
                </a:lnTo>
                <a:lnTo>
                  <a:pt x="15840003" y="23759927"/>
                </a:lnTo>
                <a:close/>
                <a:moveTo>
                  <a:pt x="6480001" y="23039927"/>
                </a:moveTo>
                <a:lnTo>
                  <a:pt x="7920002" y="23039927"/>
                </a:lnTo>
                <a:lnTo>
                  <a:pt x="7920002" y="23759927"/>
                </a:lnTo>
                <a:lnTo>
                  <a:pt x="6480001" y="23759927"/>
                </a:lnTo>
                <a:close/>
                <a:moveTo>
                  <a:pt x="7920002" y="22319927"/>
                </a:moveTo>
                <a:lnTo>
                  <a:pt x="9360002" y="22319927"/>
                </a:lnTo>
                <a:lnTo>
                  <a:pt x="9360002" y="23039925"/>
                </a:lnTo>
                <a:lnTo>
                  <a:pt x="7920002" y="23039925"/>
                </a:lnTo>
                <a:close/>
                <a:moveTo>
                  <a:pt x="20880001" y="21599927"/>
                </a:moveTo>
                <a:lnTo>
                  <a:pt x="22320003" y="21599927"/>
                </a:lnTo>
                <a:lnTo>
                  <a:pt x="22320003" y="22319927"/>
                </a:lnTo>
                <a:lnTo>
                  <a:pt x="22320003" y="23039925"/>
                </a:lnTo>
                <a:lnTo>
                  <a:pt x="20160003" y="23039925"/>
                </a:lnTo>
                <a:lnTo>
                  <a:pt x="20160003" y="22319927"/>
                </a:lnTo>
                <a:lnTo>
                  <a:pt x="20880001" y="22319927"/>
                </a:lnTo>
                <a:close/>
                <a:moveTo>
                  <a:pt x="18720001" y="21599927"/>
                </a:moveTo>
                <a:lnTo>
                  <a:pt x="20160003" y="21599927"/>
                </a:lnTo>
                <a:lnTo>
                  <a:pt x="20160003" y="22319927"/>
                </a:lnTo>
                <a:lnTo>
                  <a:pt x="18720001" y="22319927"/>
                </a:lnTo>
                <a:close/>
                <a:moveTo>
                  <a:pt x="14400003" y="21599927"/>
                </a:moveTo>
                <a:lnTo>
                  <a:pt x="15120001" y="21599927"/>
                </a:lnTo>
                <a:lnTo>
                  <a:pt x="15120001" y="22319927"/>
                </a:lnTo>
                <a:lnTo>
                  <a:pt x="15840003" y="22319927"/>
                </a:lnTo>
                <a:lnTo>
                  <a:pt x="15840003" y="21599927"/>
                </a:lnTo>
                <a:lnTo>
                  <a:pt x="16560003" y="21599927"/>
                </a:lnTo>
                <a:lnTo>
                  <a:pt x="16560003" y="22319927"/>
                </a:lnTo>
                <a:lnTo>
                  <a:pt x="18000003" y="22319927"/>
                </a:lnTo>
                <a:lnTo>
                  <a:pt x="18000003" y="23039925"/>
                </a:lnTo>
                <a:lnTo>
                  <a:pt x="14400003" y="23039925"/>
                </a:lnTo>
                <a:lnTo>
                  <a:pt x="14400003" y="22319927"/>
                </a:lnTo>
                <a:close/>
                <a:moveTo>
                  <a:pt x="12960001" y="21599927"/>
                </a:moveTo>
                <a:lnTo>
                  <a:pt x="13680001" y="21599927"/>
                </a:lnTo>
                <a:lnTo>
                  <a:pt x="13680001" y="23759927"/>
                </a:lnTo>
                <a:lnTo>
                  <a:pt x="12960001" y="23759927"/>
                </a:lnTo>
                <a:close/>
                <a:moveTo>
                  <a:pt x="10800001" y="21599927"/>
                </a:moveTo>
                <a:lnTo>
                  <a:pt x="12240002" y="21599927"/>
                </a:lnTo>
                <a:lnTo>
                  <a:pt x="12240002" y="22319927"/>
                </a:lnTo>
                <a:lnTo>
                  <a:pt x="11520001" y="22319927"/>
                </a:lnTo>
                <a:lnTo>
                  <a:pt x="11520001" y="23039925"/>
                </a:lnTo>
                <a:lnTo>
                  <a:pt x="10800001" y="23039925"/>
                </a:lnTo>
                <a:lnTo>
                  <a:pt x="10800001" y="22319927"/>
                </a:lnTo>
                <a:close/>
                <a:moveTo>
                  <a:pt x="5760002" y="21599927"/>
                </a:moveTo>
                <a:lnTo>
                  <a:pt x="7920002" y="21599927"/>
                </a:lnTo>
                <a:lnTo>
                  <a:pt x="7920002" y="22319927"/>
                </a:lnTo>
                <a:lnTo>
                  <a:pt x="6480003" y="22319927"/>
                </a:lnTo>
                <a:lnTo>
                  <a:pt x="6480003" y="23039925"/>
                </a:lnTo>
                <a:lnTo>
                  <a:pt x="5760002" y="23039925"/>
                </a:lnTo>
                <a:lnTo>
                  <a:pt x="5760002" y="22319927"/>
                </a:lnTo>
                <a:close/>
                <a:moveTo>
                  <a:pt x="13680001" y="20159927"/>
                </a:moveTo>
                <a:lnTo>
                  <a:pt x="14399999" y="20159927"/>
                </a:lnTo>
                <a:lnTo>
                  <a:pt x="14399999" y="20879925"/>
                </a:lnTo>
                <a:lnTo>
                  <a:pt x="15120001" y="20879925"/>
                </a:lnTo>
                <a:lnTo>
                  <a:pt x="15120001" y="21599925"/>
                </a:lnTo>
                <a:lnTo>
                  <a:pt x="13680001" y="21599925"/>
                </a:lnTo>
                <a:lnTo>
                  <a:pt x="13680001" y="20879925"/>
                </a:lnTo>
                <a:close/>
                <a:moveTo>
                  <a:pt x="1440010" y="20159927"/>
                </a:moveTo>
                <a:lnTo>
                  <a:pt x="3600011" y="20159927"/>
                </a:lnTo>
                <a:lnTo>
                  <a:pt x="3600011" y="22319927"/>
                </a:lnTo>
                <a:lnTo>
                  <a:pt x="1440010" y="22319927"/>
                </a:lnTo>
                <a:close/>
                <a:moveTo>
                  <a:pt x="14400003" y="19439927"/>
                </a:moveTo>
                <a:lnTo>
                  <a:pt x="15840003" y="19439927"/>
                </a:lnTo>
                <a:lnTo>
                  <a:pt x="15840003" y="20159927"/>
                </a:lnTo>
                <a:lnTo>
                  <a:pt x="14400003" y="20159927"/>
                </a:lnTo>
                <a:close/>
                <a:moveTo>
                  <a:pt x="10080007" y="19439927"/>
                </a:moveTo>
                <a:lnTo>
                  <a:pt x="11520004" y="19439927"/>
                </a:lnTo>
                <a:lnTo>
                  <a:pt x="11520004" y="20159927"/>
                </a:lnTo>
                <a:lnTo>
                  <a:pt x="10800004" y="20159927"/>
                </a:lnTo>
                <a:lnTo>
                  <a:pt x="10800004" y="20879925"/>
                </a:lnTo>
                <a:lnTo>
                  <a:pt x="11520004" y="20879925"/>
                </a:lnTo>
                <a:lnTo>
                  <a:pt x="11520004" y="20159927"/>
                </a:lnTo>
                <a:lnTo>
                  <a:pt x="12240002" y="20159927"/>
                </a:lnTo>
                <a:lnTo>
                  <a:pt x="12240002" y="19439927"/>
                </a:lnTo>
                <a:lnTo>
                  <a:pt x="12960001" y="19439927"/>
                </a:lnTo>
                <a:lnTo>
                  <a:pt x="12960001" y="20159927"/>
                </a:lnTo>
                <a:lnTo>
                  <a:pt x="12960001" y="20879925"/>
                </a:lnTo>
                <a:lnTo>
                  <a:pt x="12240002" y="20879925"/>
                </a:lnTo>
                <a:lnTo>
                  <a:pt x="12240002" y="21599925"/>
                </a:lnTo>
                <a:lnTo>
                  <a:pt x="10080003" y="21599925"/>
                </a:lnTo>
                <a:lnTo>
                  <a:pt x="10080003" y="20879925"/>
                </a:lnTo>
                <a:lnTo>
                  <a:pt x="10080007" y="20879925"/>
                </a:lnTo>
                <a:lnTo>
                  <a:pt x="10080007" y="20159927"/>
                </a:lnTo>
                <a:close/>
                <a:moveTo>
                  <a:pt x="12" y="19439927"/>
                </a:moveTo>
                <a:lnTo>
                  <a:pt x="720011" y="19439927"/>
                </a:lnTo>
                <a:lnTo>
                  <a:pt x="720011" y="23039927"/>
                </a:lnTo>
                <a:lnTo>
                  <a:pt x="4320015" y="23039927"/>
                </a:lnTo>
                <a:lnTo>
                  <a:pt x="4320015" y="19439927"/>
                </a:lnTo>
                <a:lnTo>
                  <a:pt x="5040014" y="19439927"/>
                </a:lnTo>
                <a:lnTo>
                  <a:pt x="5040014" y="23039927"/>
                </a:lnTo>
                <a:lnTo>
                  <a:pt x="5040001" y="23039927"/>
                </a:lnTo>
                <a:lnTo>
                  <a:pt x="5040001" y="23759927"/>
                </a:lnTo>
                <a:lnTo>
                  <a:pt x="0" y="23759927"/>
                </a:lnTo>
                <a:lnTo>
                  <a:pt x="0" y="23039927"/>
                </a:lnTo>
                <a:lnTo>
                  <a:pt x="12" y="23039927"/>
                </a:lnTo>
                <a:close/>
                <a:moveTo>
                  <a:pt x="18720001" y="18719925"/>
                </a:moveTo>
                <a:lnTo>
                  <a:pt x="19440001" y="18719925"/>
                </a:lnTo>
                <a:lnTo>
                  <a:pt x="19440001" y="19439925"/>
                </a:lnTo>
                <a:lnTo>
                  <a:pt x="18720001" y="19439925"/>
                </a:lnTo>
                <a:close/>
                <a:moveTo>
                  <a:pt x="11520004" y="18719925"/>
                </a:moveTo>
                <a:lnTo>
                  <a:pt x="12240000" y="18719925"/>
                </a:lnTo>
                <a:lnTo>
                  <a:pt x="12240000" y="19439925"/>
                </a:lnTo>
                <a:lnTo>
                  <a:pt x="11520004" y="19439925"/>
                </a:lnTo>
                <a:close/>
                <a:moveTo>
                  <a:pt x="14" y="18719925"/>
                </a:moveTo>
                <a:lnTo>
                  <a:pt x="5040014" y="18719925"/>
                </a:lnTo>
                <a:lnTo>
                  <a:pt x="5040014" y="19439925"/>
                </a:lnTo>
                <a:lnTo>
                  <a:pt x="14" y="19439925"/>
                </a:lnTo>
                <a:close/>
                <a:moveTo>
                  <a:pt x="23040003" y="17999927"/>
                </a:moveTo>
                <a:lnTo>
                  <a:pt x="23760003" y="17999927"/>
                </a:lnTo>
                <a:lnTo>
                  <a:pt x="23760003" y="18719925"/>
                </a:lnTo>
                <a:lnTo>
                  <a:pt x="23040003" y="18719925"/>
                </a:lnTo>
                <a:close/>
                <a:moveTo>
                  <a:pt x="21600003" y="17999927"/>
                </a:moveTo>
                <a:lnTo>
                  <a:pt x="22320003" y="17999927"/>
                </a:lnTo>
                <a:lnTo>
                  <a:pt x="22320003" y="18719925"/>
                </a:lnTo>
                <a:lnTo>
                  <a:pt x="23040003" y="18719925"/>
                </a:lnTo>
                <a:lnTo>
                  <a:pt x="23040003" y="19439925"/>
                </a:lnTo>
                <a:lnTo>
                  <a:pt x="21600003" y="19439925"/>
                </a:lnTo>
                <a:lnTo>
                  <a:pt x="21600003" y="18719925"/>
                </a:lnTo>
                <a:close/>
                <a:moveTo>
                  <a:pt x="20160003" y="17999927"/>
                </a:moveTo>
                <a:lnTo>
                  <a:pt x="20880001" y="17999927"/>
                </a:lnTo>
                <a:lnTo>
                  <a:pt x="20880001" y="19439927"/>
                </a:lnTo>
                <a:lnTo>
                  <a:pt x="23760003" y="19439927"/>
                </a:lnTo>
                <a:lnTo>
                  <a:pt x="23760003" y="20159927"/>
                </a:lnTo>
                <a:lnTo>
                  <a:pt x="23760001" y="20159927"/>
                </a:lnTo>
                <a:lnTo>
                  <a:pt x="23760001" y="20879925"/>
                </a:lnTo>
                <a:lnTo>
                  <a:pt x="23760003" y="20879925"/>
                </a:lnTo>
                <a:lnTo>
                  <a:pt x="23760003" y="21599925"/>
                </a:lnTo>
                <a:lnTo>
                  <a:pt x="23040003" y="21599925"/>
                </a:lnTo>
                <a:lnTo>
                  <a:pt x="23040003" y="20879925"/>
                </a:lnTo>
                <a:lnTo>
                  <a:pt x="22320003" y="20879925"/>
                </a:lnTo>
                <a:lnTo>
                  <a:pt x="22320003" y="20159927"/>
                </a:lnTo>
                <a:lnTo>
                  <a:pt x="21600003" y="20159927"/>
                </a:lnTo>
                <a:lnTo>
                  <a:pt x="21600003" y="20879925"/>
                </a:lnTo>
                <a:lnTo>
                  <a:pt x="20880001" y="20879925"/>
                </a:lnTo>
                <a:lnTo>
                  <a:pt x="20880001" y="21599925"/>
                </a:lnTo>
                <a:lnTo>
                  <a:pt x="20160003" y="21599925"/>
                </a:lnTo>
                <a:lnTo>
                  <a:pt x="20160003" y="20879925"/>
                </a:lnTo>
                <a:lnTo>
                  <a:pt x="18720003" y="20879925"/>
                </a:lnTo>
                <a:lnTo>
                  <a:pt x="18720003" y="21599925"/>
                </a:lnTo>
                <a:lnTo>
                  <a:pt x="15840003" y="21599925"/>
                </a:lnTo>
                <a:lnTo>
                  <a:pt x="15840003" y="20879925"/>
                </a:lnTo>
                <a:lnTo>
                  <a:pt x="15840003" y="20159927"/>
                </a:lnTo>
                <a:lnTo>
                  <a:pt x="16560003" y="20159927"/>
                </a:lnTo>
                <a:lnTo>
                  <a:pt x="16560003" y="20879925"/>
                </a:lnTo>
                <a:lnTo>
                  <a:pt x="17280001" y="20879925"/>
                </a:lnTo>
                <a:lnTo>
                  <a:pt x="17280001" y="20159927"/>
                </a:lnTo>
                <a:lnTo>
                  <a:pt x="16560003" y="20159927"/>
                </a:lnTo>
                <a:lnTo>
                  <a:pt x="16560003" y="19439927"/>
                </a:lnTo>
                <a:lnTo>
                  <a:pt x="18000003" y="19439927"/>
                </a:lnTo>
                <a:lnTo>
                  <a:pt x="18000003" y="20159927"/>
                </a:lnTo>
                <a:lnTo>
                  <a:pt x="20160003" y="20159927"/>
                </a:lnTo>
                <a:lnTo>
                  <a:pt x="20160003" y="19439927"/>
                </a:lnTo>
                <a:close/>
                <a:moveTo>
                  <a:pt x="15120001" y="17999927"/>
                </a:moveTo>
                <a:lnTo>
                  <a:pt x="15840001" y="17999927"/>
                </a:lnTo>
                <a:lnTo>
                  <a:pt x="15840001" y="18719925"/>
                </a:lnTo>
                <a:lnTo>
                  <a:pt x="16560003" y="18719925"/>
                </a:lnTo>
                <a:lnTo>
                  <a:pt x="16560003" y="17999927"/>
                </a:lnTo>
                <a:lnTo>
                  <a:pt x="18000003" y="17999927"/>
                </a:lnTo>
                <a:lnTo>
                  <a:pt x="18000003" y="18719925"/>
                </a:lnTo>
                <a:lnTo>
                  <a:pt x="18000003" y="19439925"/>
                </a:lnTo>
                <a:lnTo>
                  <a:pt x="14400003" y="19439925"/>
                </a:lnTo>
                <a:lnTo>
                  <a:pt x="14400003" y="18719925"/>
                </a:lnTo>
                <a:lnTo>
                  <a:pt x="15120001" y="18719925"/>
                </a:lnTo>
                <a:close/>
                <a:moveTo>
                  <a:pt x="8640002" y="17999927"/>
                </a:moveTo>
                <a:lnTo>
                  <a:pt x="10080007" y="17999927"/>
                </a:lnTo>
                <a:lnTo>
                  <a:pt x="10080007" y="18719925"/>
                </a:lnTo>
                <a:lnTo>
                  <a:pt x="9360005" y="18719925"/>
                </a:lnTo>
                <a:lnTo>
                  <a:pt x="9360005" y="19439925"/>
                </a:lnTo>
                <a:lnTo>
                  <a:pt x="8640002" y="19439925"/>
                </a:lnTo>
                <a:lnTo>
                  <a:pt x="8640002" y="18719925"/>
                </a:lnTo>
                <a:close/>
                <a:moveTo>
                  <a:pt x="5760005" y="17999927"/>
                </a:moveTo>
                <a:lnTo>
                  <a:pt x="7200004" y="17999927"/>
                </a:lnTo>
                <a:lnTo>
                  <a:pt x="7200004" y="19439927"/>
                </a:lnTo>
                <a:lnTo>
                  <a:pt x="6480007" y="19439927"/>
                </a:lnTo>
                <a:lnTo>
                  <a:pt x="6480007" y="20159927"/>
                </a:lnTo>
                <a:lnTo>
                  <a:pt x="9360004" y="20159927"/>
                </a:lnTo>
                <a:lnTo>
                  <a:pt x="9360004" y="20879925"/>
                </a:lnTo>
                <a:lnTo>
                  <a:pt x="9360004" y="21599925"/>
                </a:lnTo>
                <a:lnTo>
                  <a:pt x="7920002" y="21599925"/>
                </a:lnTo>
                <a:lnTo>
                  <a:pt x="7920002" y="20879925"/>
                </a:lnTo>
                <a:lnTo>
                  <a:pt x="7200001" y="20879925"/>
                </a:lnTo>
                <a:lnTo>
                  <a:pt x="7200001" y="21599925"/>
                </a:lnTo>
                <a:lnTo>
                  <a:pt x="5760002" y="21599925"/>
                </a:lnTo>
                <a:lnTo>
                  <a:pt x="5760002" y="20879925"/>
                </a:lnTo>
                <a:lnTo>
                  <a:pt x="5760002" y="20879925"/>
                </a:lnTo>
                <a:lnTo>
                  <a:pt x="5760002" y="20159927"/>
                </a:lnTo>
                <a:lnTo>
                  <a:pt x="5760005" y="20159927"/>
                </a:lnTo>
                <a:lnTo>
                  <a:pt x="5760005" y="19439927"/>
                </a:lnTo>
                <a:close/>
                <a:moveTo>
                  <a:pt x="13680001" y="17279925"/>
                </a:moveTo>
                <a:lnTo>
                  <a:pt x="14399999" y="17279925"/>
                </a:lnTo>
                <a:lnTo>
                  <a:pt x="14399999" y="17999923"/>
                </a:lnTo>
                <a:lnTo>
                  <a:pt x="13680001" y="17999923"/>
                </a:lnTo>
                <a:close/>
                <a:moveTo>
                  <a:pt x="17280003" y="16559927"/>
                </a:moveTo>
                <a:lnTo>
                  <a:pt x="17280003" y="17279925"/>
                </a:lnTo>
                <a:lnTo>
                  <a:pt x="18000003" y="17279925"/>
                </a:lnTo>
                <a:lnTo>
                  <a:pt x="18000003" y="16559927"/>
                </a:lnTo>
                <a:close/>
                <a:moveTo>
                  <a:pt x="12240002" y="16559927"/>
                </a:moveTo>
                <a:lnTo>
                  <a:pt x="12960001" y="16559927"/>
                </a:lnTo>
                <a:lnTo>
                  <a:pt x="12960001" y="17999927"/>
                </a:lnTo>
                <a:lnTo>
                  <a:pt x="14400003" y="17999927"/>
                </a:lnTo>
                <a:lnTo>
                  <a:pt x="14400003" y="18719925"/>
                </a:lnTo>
                <a:lnTo>
                  <a:pt x="13680001" y="18719925"/>
                </a:lnTo>
                <a:lnTo>
                  <a:pt x="13680001" y="19439925"/>
                </a:lnTo>
                <a:lnTo>
                  <a:pt x="12960001" y="19439925"/>
                </a:lnTo>
                <a:lnTo>
                  <a:pt x="12960001" y="18719925"/>
                </a:lnTo>
                <a:lnTo>
                  <a:pt x="12240002" y="18719925"/>
                </a:lnTo>
                <a:lnTo>
                  <a:pt x="12240002" y="17999927"/>
                </a:lnTo>
                <a:close/>
                <a:moveTo>
                  <a:pt x="20880001" y="15839927"/>
                </a:moveTo>
                <a:lnTo>
                  <a:pt x="21600001" y="15839927"/>
                </a:lnTo>
                <a:lnTo>
                  <a:pt x="21600001" y="16559927"/>
                </a:lnTo>
                <a:lnTo>
                  <a:pt x="22320003" y="16559927"/>
                </a:lnTo>
                <a:lnTo>
                  <a:pt x="22320003" y="15839927"/>
                </a:lnTo>
                <a:lnTo>
                  <a:pt x="23040001" y="15839927"/>
                </a:lnTo>
                <a:lnTo>
                  <a:pt x="23040001" y="16559927"/>
                </a:lnTo>
                <a:lnTo>
                  <a:pt x="23040001" y="17279925"/>
                </a:lnTo>
                <a:lnTo>
                  <a:pt x="23760001" y="17279925"/>
                </a:lnTo>
                <a:lnTo>
                  <a:pt x="23760001" y="17999923"/>
                </a:lnTo>
                <a:lnTo>
                  <a:pt x="22320003" y="17999923"/>
                </a:lnTo>
                <a:lnTo>
                  <a:pt x="22320003" y="17279925"/>
                </a:lnTo>
                <a:lnTo>
                  <a:pt x="20880001" y="17279925"/>
                </a:lnTo>
                <a:lnTo>
                  <a:pt x="20880001" y="16559927"/>
                </a:lnTo>
                <a:close/>
                <a:moveTo>
                  <a:pt x="14400003" y="15839927"/>
                </a:moveTo>
                <a:lnTo>
                  <a:pt x="15120001" y="15839927"/>
                </a:lnTo>
                <a:lnTo>
                  <a:pt x="15120001" y="16559927"/>
                </a:lnTo>
                <a:lnTo>
                  <a:pt x="17280001" y="16559927"/>
                </a:lnTo>
                <a:lnTo>
                  <a:pt x="17280001" y="15839927"/>
                </a:lnTo>
                <a:lnTo>
                  <a:pt x="18720001" y="15839927"/>
                </a:lnTo>
                <a:lnTo>
                  <a:pt x="18720001" y="16559927"/>
                </a:lnTo>
                <a:lnTo>
                  <a:pt x="20160003" y="16559927"/>
                </a:lnTo>
                <a:lnTo>
                  <a:pt x="20160003" y="17279925"/>
                </a:lnTo>
                <a:lnTo>
                  <a:pt x="20880001" y="17279925"/>
                </a:lnTo>
                <a:lnTo>
                  <a:pt x="20880001" y="17999923"/>
                </a:lnTo>
                <a:lnTo>
                  <a:pt x="17280001" y="17999923"/>
                </a:lnTo>
                <a:lnTo>
                  <a:pt x="17280001" y="17279925"/>
                </a:lnTo>
                <a:lnTo>
                  <a:pt x="16560003" y="17279925"/>
                </a:lnTo>
                <a:lnTo>
                  <a:pt x="16560003" y="17999923"/>
                </a:lnTo>
                <a:lnTo>
                  <a:pt x="15840003" y="17999923"/>
                </a:lnTo>
                <a:lnTo>
                  <a:pt x="15840003" y="17279925"/>
                </a:lnTo>
                <a:lnTo>
                  <a:pt x="14400003" y="17279925"/>
                </a:lnTo>
                <a:lnTo>
                  <a:pt x="14400003" y="16559927"/>
                </a:lnTo>
                <a:close/>
                <a:moveTo>
                  <a:pt x="10080012" y="15839927"/>
                </a:moveTo>
                <a:lnTo>
                  <a:pt x="12240002" y="15839927"/>
                </a:lnTo>
                <a:lnTo>
                  <a:pt x="12240002" y="16559927"/>
                </a:lnTo>
                <a:lnTo>
                  <a:pt x="10800007" y="16559927"/>
                </a:lnTo>
                <a:lnTo>
                  <a:pt x="10800007" y="17279925"/>
                </a:lnTo>
                <a:lnTo>
                  <a:pt x="11520004" y="17279925"/>
                </a:lnTo>
                <a:lnTo>
                  <a:pt x="11520004" y="17999923"/>
                </a:lnTo>
                <a:lnTo>
                  <a:pt x="10080007" y="17999923"/>
                </a:lnTo>
                <a:lnTo>
                  <a:pt x="10080007" y="17279925"/>
                </a:lnTo>
                <a:lnTo>
                  <a:pt x="10080007" y="16559927"/>
                </a:lnTo>
                <a:lnTo>
                  <a:pt x="10080012" y="16559927"/>
                </a:lnTo>
                <a:close/>
                <a:moveTo>
                  <a:pt x="2880031" y="15839927"/>
                </a:moveTo>
                <a:lnTo>
                  <a:pt x="5040029" y="15839927"/>
                </a:lnTo>
                <a:lnTo>
                  <a:pt x="5040029" y="16559927"/>
                </a:lnTo>
                <a:lnTo>
                  <a:pt x="5760005" y="16559927"/>
                </a:lnTo>
                <a:lnTo>
                  <a:pt x="5760005" y="15839927"/>
                </a:lnTo>
                <a:lnTo>
                  <a:pt x="7920008" y="15839927"/>
                </a:lnTo>
                <a:lnTo>
                  <a:pt x="7920008" y="16559927"/>
                </a:lnTo>
                <a:lnTo>
                  <a:pt x="9360011" y="16559927"/>
                </a:lnTo>
                <a:lnTo>
                  <a:pt x="9360011" y="17279925"/>
                </a:lnTo>
                <a:lnTo>
                  <a:pt x="7920006" y="17279925"/>
                </a:lnTo>
                <a:lnTo>
                  <a:pt x="7920006" y="16559927"/>
                </a:lnTo>
                <a:lnTo>
                  <a:pt x="6480010" y="16559927"/>
                </a:lnTo>
                <a:lnTo>
                  <a:pt x="6480010" y="17279925"/>
                </a:lnTo>
                <a:lnTo>
                  <a:pt x="6480007" y="17279925"/>
                </a:lnTo>
                <a:lnTo>
                  <a:pt x="6480007" y="17999923"/>
                </a:lnTo>
                <a:lnTo>
                  <a:pt x="5760005" y="17999923"/>
                </a:lnTo>
                <a:lnTo>
                  <a:pt x="5760005" y="17279925"/>
                </a:lnTo>
                <a:lnTo>
                  <a:pt x="5040022" y="17279925"/>
                </a:lnTo>
                <a:lnTo>
                  <a:pt x="5040022" y="16559927"/>
                </a:lnTo>
                <a:lnTo>
                  <a:pt x="4320028" y="16559927"/>
                </a:lnTo>
                <a:lnTo>
                  <a:pt x="4320028" y="17279925"/>
                </a:lnTo>
                <a:lnTo>
                  <a:pt x="5040022" y="17279925"/>
                </a:lnTo>
                <a:lnTo>
                  <a:pt x="5040022" y="17999923"/>
                </a:lnTo>
                <a:lnTo>
                  <a:pt x="4320024" y="17999923"/>
                </a:lnTo>
                <a:lnTo>
                  <a:pt x="4320024" y="17279925"/>
                </a:lnTo>
                <a:lnTo>
                  <a:pt x="3600023" y="17279925"/>
                </a:lnTo>
                <a:lnTo>
                  <a:pt x="3600023" y="17999923"/>
                </a:lnTo>
                <a:lnTo>
                  <a:pt x="1440022" y="17999923"/>
                </a:lnTo>
                <a:lnTo>
                  <a:pt x="1440022" y="17279925"/>
                </a:lnTo>
                <a:lnTo>
                  <a:pt x="1440024" y="17279925"/>
                </a:lnTo>
                <a:lnTo>
                  <a:pt x="1440024" y="16559927"/>
                </a:lnTo>
                <a:lnTo>
                  <a:pt x="2880031" y="16559927"/>
                </a:lnTo>
                <a:close/>
                <a:moveTo>
                  <a:pt x="23040003" y="15119925"/>
                </a:moveTo>
                <a:lnTo>
                  <a:pt x="23760003" y="15119925"/>
                </a:lnTo>
                <a:lnTo>
                  <a:pt x="23760003" y="15839925"/>
                </a:lnTo>
                <a:lnTo>
                  <a:pt x="23040003" y="15839925"/>
                </a:lnTo>
                <a:close/>
                <a:moveTo>
                  <a:pt x="21600003" y="15119925"/>
                </a:moveTo>
                <a:lnTo>
                  <a:pt x="22320003" y="15119925"/>
                </a:lnTo>
                <a:lnTo>
                  <a:pt x="22320003" y="15839925"/>
                </a:lnTo>
                <a:lnTo>
                  <a:pt x="21600003" y="15839925"/>
                </a:lnTo>
                <a:close/>
                <a:moveTo>
                  <a:pt x="12960001" y="15119925"/>
                </a:moveTo>
                <a:lnTo>
                  <a:pt x="13680001" y="15119925"/>
                </a:lnTo>
                <a:lnTo>
                  <a:pt x="13680001" y="16559927"/>
                </a:lnTo>
                <a:lnTo>
                  <a:pt x="12960001" y="16559927"/>
                </a:lnTo>
                <a:close/>
                <a:moveTo>
                  <a:pt x="10800007" y="15119925"/>
                </a:moveTo>
                <a:lnTo>
                  <a:pt x="12240002" y="15119925"/>
                </a:lnTo>
                <a:lnTo>
                  <a:pt x="12240002" y="15839925"/>
                </a:lnTo>
                <a:lnTo>
                  <a:pt x="10800007" y="15839925"/>
                </a:lnTo>
                <a:close/>
                <a:moveTo>
                  <a:pt x="22320003" y="14399927"/>
                </a:moveTo>
                <a:lnTo>
                  <a:pt x="23040001" y="14399927"/>
                </a:lnTo>
                <a:lnTo>
                  <a:pt x="23040001" y="15119925"/>
                </a:lnTo>
                <a:lnTo>
                  <a:pt x="22320003" y="15119925"/>
                </a:lnTo>
                <a:close/>
                <a:moveTo>
                  <a:pt x="19440003" y="14399927"/>
                </a:moveTo>
                <a:lnTo>
                  <a:pt x="21600003" y="14399927"/>
                </a:lnTo>
                <a:lnTo>
                  <a:pt x="21600003" y="15119925"/>
                </a:lnTo>
                <a:lnTo>
                  <a:pt x="19440003" y="15119925"/>
                </a:lnTo>
                <a:close/>
                <a:moveTo>
                  <a:pt x="13680001" y="14399927"/>
                </a:moveTo>
                <a:lnTo>
                  <a:pt x="15120001" y="14399927"/>
                </a:lnTo>
                <a:lnTo>
                  <a:pt x="15120001" y="15119925"/>
                </a:lnTo>
                <a:lnTo>
                  <a:pt x="15840003" y="15119925"/>
                </a:lnTo>
                <a:lnTo>
                  <a:pt x="15840003" y="14399927"/>
                </a:lnTo>
                <a:lnTo>
                  <a:pt x="16560003" y="14399927"/>
                </a:lnTo>
                <a:lnTo>
                  <a:pt x="16560003" y="15119925"/>
                </a:lnTo>
                <a:lnTo>
                  <a:pt x="16560003" y="15839925"/>
                </a:lnTo>
                <a:lnTo>
                  <a:pt x="14400003" y="15839925"/>
                </a:lnTo>
                <a:lnTo>
                  <a:pt x="14400003" y="15119925"/>
                </a:lnTo>
                <a:lnTo>
                  <a:pt x="13680001" y="15119925"/>
                </a:lnTo>
                <a:close/>
                <a:moveTo>
                  <a:pt x="10080012" y="14399927"/>
                </a:moveTo>
                <a:lnTo>
                  <a:pt x="10800007" y="14399927"/>
                </a:lnTo>
                <a:lnTo>
                  <a:pt x="10800007" y="15119925"/>
                </a:lnTo>
                <a:lnTo>
                  <a:pt x="10080012" y="15119925"/>
                </a:lnTo>
                <a:close/>
                <a:moveTo>
                  <a:pt x="6480010" y="14399927"/>
                </a:moveTo>
                <a:lnTo>
                  <a:pt x="7920010" y="14399927"/>
                </a:lnTo>
                <a:lnTo>
                  <a:pt x="7920010" y="15119925"/>
                </a:lnTo>
                <a:lnTo>
                  <a:pt x="8640004" y="15119925"/>
                </a:lnTo>
                <a:lnTo>
                  <a:pt x="8640004" y="14399927"/>
                </a:lnTo>
                <a:lnTo>
                  <a:pt x="9360011" y="14399927"/>
                </a:lnTo>
                <a:lnTo>
                  <a:pt x="9360011" y="15119925"/>
                </a:lnTo>
                <a:lnTo>
                  <a:pt x="10080012" y="15119925"/>
                </a:lnTo>
                <a:lnTo>
                  <a:pt x="10080012" y="15839925"/>
                </a:lnTo>
                <a:lnTo>
                  <a:pt x="6480010" y="15839925"/>
                </a:lnTo>
                <a:lnTo>
                  <a:pt x="6480010" y="15119925"/>
                </a:lnTo>
                <a:close/>
                <a:moveTo>
                  <a:pt x="3600037" y="14399927"/>
                </a:moveTo>
                <a:lnTo>
                  <a:pt x="5040037" y="14399927"/>
                </a:lnTo>
                <a:lnTo>
                  <a:pt x="5040037" y="15119925"/>
                </a:lnTo>
                <a:lnTo>
                  <a:pt x="5760009" y="15119925"/>
                </a:lnTo>
                <a:lnTo>
                  <a:pt x="5760009" y="15839925"/>
                </a:lnTo>
                <a:lnTo>
                  <a:pt x="5040029" y="15839925"/>
                </a:lnTo>
                <a:lnTo>
                  <a:pt x="5040029" y="15119925"/>
                </a:lnTo>
                <a:lnTo>
                  <a:pt x="4320032" y="15119925"/>
                </a:lnTo>
                <a:lnTo>
                  <a:pt x="4320032" y="15839925"/>
                </a:lnTo>
                <a:lnTo>
                  <a:pt x="3600032" y="15839925"/>
                </a:lnTo>
                <a:lnTo>
                  <a:pt x="3600032" y="15119925"/>
                </a:lnTo>
                <a:lnTo>
                  <a:pt x="3600037" y="15119925"/>
                </a:lnTo>
                <a:close/>
                <a:moveTo>
                  <a:pt x="2160037" y="14399927"/>
                </a:moveTo>
                <a:lnTo>
                  <a:pt x="2880037" y="14399927"/>
                </a:lnTo>
                <a:lnTo>
                  <a:pt x="2880037" y="15119925"/>
                </a:lnTo>
                <a:lnTo>
                  <a:pt x="2160037" y="15119925"/>
                </a:lnTo>
                <a:close/>
                <a:moveTo>
                  <a:pt x="30" y="14399927"/>
                </a:moveTo>
                <a:lnTo>
                  <a:pt x="1440032" y="14399927"/>
                </a:lnTo>
                <a:lnTo>
                  <a:pt x="1440032" y="15119925"/>
                </a:lnTo>
                <a:lnTo>
                  <a:pt x="720025" y="15119925"/>
                </a:lnTo>
                <a:lnTo>
                  <a:pt x="720025" y="17999927"/>
                </a:lnTo>
                <a:lnTo>
                  <a:pt x="27" y="17999927"/>
                </a:lnTo>
                <a:lnTo>
                  <a:pt x="27" y="15119925"/>
                </a:lnTo>
                <a:lnTo>
                  <a:pt x="30" y="15119925"/>
                </a:lnTo>
                <a:close/>
                <a:moveTo>
                  <a:pt x="23040003" y="13679925"/>
                </a:moveTo>
                <a:lnTo>
                  <a:pt x="23760003" y="13679925"/>
                </a:lnTo>
                <a:lnTo>
                  <a:pt x="23760003" y="14399923"/>
                </a:lnTo>
                <a:lnTo>
                  <a:pt x="23040003" y="14399923"/>
                </a:lnTo>
                <a:close/>
                <a:moveTo>
                  <a:pt x="18000003" y="13679925"/>
                </a:moveTo>
                <a:lnTo>
                  <a:pt x="18720001" y="13679925"/>
                </a:lnTo>
                <a:lnTo>
                  <a:pt x="18720001" y="15119925"/>
                </a:lnTo>
                <a:lnTo>
                  <a:pt x="18000003" y="15119925"/>
                </a:lnTo>
                <a:close/>
                <a:moveTo>
                  <a:pt x="7200004" y="13679925"/>
                </a:moveTo>
                <a:lnTo>
                  <a:pt x="7920008" y="13679925"/>
                </a:lnTo>
                <a:lnTo>
                  <a:pt x="7920008" y="14399923"/>
                </a:lnTo>
                <a:lnTo>
                  <a:pt x="7200004" y="14399923"/>
                </a:lnTo>
                <a:close/>
                <a:moveTo>
                  <a:pt x="2880054" y="13679925"/>
                </a:moveTo>
                <a:lnTo>
                  <a:pt x="3600037" y="13679925"/>
                </a:lnTo>
                <a:lnTo>
                  <a:pt x="3600037" y="14399923"/>
                </a:lnTo>
                <a:lnTo>
                  <a:pt x="2880042" y="14399923"/>
                </a:lnTo>
                <a:lnTo>
                  <a:pt x="2880042" y="13679926"/>
                </a:lnTo>
                <a:lnTo>
                  <a:pt x="2880054" y="13679926"/>
                </a:lnTo>
                <a:close/>
                <a:moveTo>
                  <a:pt x="720036" y="13679925"/>
                </a:moveTo>
                <a:lnTo>
                  <a:pt x="2160037" y="13679925"/>
                </a:lnTo>
                <a:lnTo>
                  <a:pt x="2160037" y="14399923"/>
                </a:lnTo>
                <a:lnTo>
                  <a:pt x="720032" y="14399923"/>
                </a:lnTo>
                <a:lnTo>
                  <a:pt x="720032" y="13679926"/>
                </a:lnTo>
                <a:lnTo>
                  <a:pt x="720036" y="13679926"/>
                </a:lnTo>
                <a:close/>
                <a:moveTo>
                  <a:pt x="17280001" y="12959925"/>
                </a:moveTo>
                <a:lnTo>
                  <a:pt x="17999999" y="12959925"/>
                </a:lnTo>
                <a:lnTo>
                  <a:pt x="17999999" y="13679925"/>
                </a:lnTo>
                <a:lnTo>
                  <a:pt x="17280001" y="13679925"/>
                </a:lnTo>
                <a:close/>
                <a:moveTo>
                  <a:pt x="15840003" y="12959925"/>
                </a:moveTo>
                <a:lnTo>
                  <a:pt x="16560003" y="12959925"/>
                </a:lnTo>
                <a:lnTo>
                  <a:pt x="16560003" y="13679925"/>
                </a:lnTo>
                <a:lnTo>
                  <a:pt x="15840003" y="13679925"/>
                </a:lnTo>
                <a:close/>
                <a:moveTo>
                  <a:pt x="10080012" y="12959925"/>
                </a:moveTo>
                <a:lnTo>
                  <a:pt x="11520004" y="12959925"/>
                </a:lnTo>
                <a:lnTo>
                  <a:pt x="11520004" y="13679925"/>
                </a:lnTo>
                <a:lnTo>
                  <a:pt x="10800007" y="13679925"/>
                </a:lnTo>
                <a:lnTo>
                  <a:pt x="10800007" y="14399923"/>
                </a:lnTo>
                <a:lnTo>
                  <a:pt x="9360011" y="14399923"/>
                </a:lnTo>
                <a:lnTo>
                  <a:pt x="9360011" y="13679925"/>
                </a:lnTo>
                <a:lnTo>
                  <a:pt x="10080012" y="13679925"/>
                </a:lnTo>
                <a:close/>
                <a:moveTo>
                  <a:pt x="18720001" y="12239926"/>
                </a:moveTo>
                <a:lnTo>
                  <a:pt x="20160003" y="12239926"/>
                </a:lnTo>
                <a:lnTo>
                  <a:pt x="20160003" y="12959925"/>
                </a:lnTo>
                <a:lnTo>
                  <a:pt x="20880001" y="12959925"/>
                </a:lnTo>
                <a:lnTo>
                  <a:pt x="20880001" y="13679925"/>
                </a:lnTo>
                <a:lnTo>
                  <a:pt x="21600003" y="13679925"/>
                </a:lnTo>
                <a:lnTo>
                  <a:pt x="21600003" y="12959925"/>
                </a:lnTo>
                <a:lnTo>
                  <a:pt x="20880001" y="12959925"/>
                </a:lnTo>
                <a:lnTo>
                  <a:pt x="20880001" y="12239926"/>
                </a:lnTo>
                <a:lnTo>
                  <a:pt x="22320003" y="12239926"/>
                </a:lnTo>
                <a:lnTo>
                  <a:pt x="22320003" y="12959925"/>
                </a:lnTo>
                <a:lnTo>
                  <a:pt x="23040003" y="12959925"/>
                </a:lnTo>
                <a:lnTo>
                  <a:pt x="23040003" y="13679925"/>
                </a:lnTo>
                <a:lnTo>
                  <a:pt x="22320003" y="13679925"/>
                </a:lnTo>
                <a:lnTo>
                  <a:pt x="22320003" y="14399923"/>
                </a:lnTo>
                <a:lnTo>
                  <a:pt x="19440003" y="14399923"/>
                </a:lnTo>
                <a:lnTo>
                  <a:pt x="19440003" y="13679925"/>
                </a:lnTo>
                <a:lnTo>
                  <a:pt x="18720001" y="13679925"/>
                </a:lnTo>
                <a:lnTo>
                  <a:pt x="18720001" y="12959925"/>
                </a:lnTo>
                <a:close/>
                <a:moveTo>
                  <a:pt x="16560003" y="12239926"/>
                </a:moveTo>
                <a:lnTo>
                  <a:pt x="17280001" y="12239926"/>
                </a:lnTo>
                <a:lnTo>
                  <a:pt x="17280001" y="12959925"/>
                </a:lnTo>
                <a:lnTo>
                  <a:pt x="16560003" y="12959925"/>
                </a:lnTo>
                <a:close/>
                <a:moveTo>
                  <a:pt x="11520004" y="12239926"/>
                </a:moveTo>
                <a:lnTo>
                  <a:pt x="12960001" y="12239926"/>
                </a:lnTo>
                <a:lnTo>
                  <a:pt x="12960001" y="12959925"/>
                </a:lnTo>
                <a:lnTo>
                  <a:pt x="12960001" y="13679925"/>
                </a:lnTo>
                <a:lnTo>
                  <a:pt x="14400003" y="13679925"/>
                </a:lnTo>
                <a:lnTo>
                  <a:pt x="14400003" y="12959925"/>
                </a:lnTo>
                <a:lnTo>
                  <a:pt x="13680001" y="12959925"/>
                </a:lnTo>
                <a:lnTo>
                  <a:pt x="13680001" y="12239926"/>
                </a:lnTo>
                <a:lnTo>
                  <a:pt x="15120001" y="12239926"/>
                </a:lnTo>
                <a:lnTo>
                  <a:pt x="15120001" y="12959925"/>
                </a:lnTo>
                <a:lnTo>
                  <a:pt x="15120001" y="13679925"/>
                </a:lnTo>
                <a:lnTo>
                  <a:pt x="15840003" y="13679925"/>
                </a:lnTo>
                <a:lnTo>
                  <a:pt x="15840003" y="14399923"/>
                </a:lnTo>
                <a:lnTo>
                  <a:pt x="12240002" y="14399923"/>
                </a:lnTo>
                <a:lnTo>
                  <a:pt x="12240002" y="13679925"/>
                </a:lnTo>
                <a:lnTo>
                  <a:pt x="12240002" y="12959925"/>
                </a:lnTo>
                <a:lnTo>
                  <a:pt x="11520004" y="12959925"/>
                </a:lnTo>
                <a:close/>
                <a:moveTo>
                  <a:pt x="8640006" y="12239926"/>
                </a:moveTo>
                <a:lnTo>
                  <a:pt x="10080012" y="12239926"/>
                </a:lnTo>
                <a:lnTo>
                  <a:pt x="10080012" y="12959925"/>
                </a:lnTo>
                <a:lnTo>
                  <a:pt x="8640006" y="12959925"/>
                </a:lnTo>
                <a:close/>
                <a:moveTo>
                  <a:pt x="7200004" y="12239926"/>
                </a:moveTo>
                <a:lnTo>
                  <a:pt x="7920010" y="12239926"/>
                </a:lnTo>
                <a:lnTo>
                  <a:pt x="7920010" y="12959925"/>
                </a:lnTo>
                <a:lnTo>
                  <a:pt x="7200004" y="12959925"/>
                </a:lnTo>
                <a:close/>
                <a:moveTo>
                  <a:pt x="5040046" y="12239926"/>
                </a:moveTo>
                <a:lnTo>
                  <a:pt x="6480012" y="12239926"/>
                </a:lnTo>
                <a:lnTo>
                  <a:pt x="6480012" y="12959925"/>
                </a:lnTo>
                <a:lnTo>
                  <a:pt x="7200004" y="12959925"/>
                </a:lnTo>
                <a:lnTo>
                  <a:pt x="7200004" y="13679925"/>
                </a:lnTo>
                <a:lnTo>
                  <a:pt x="4320045" y="13679925"/>
                </a:lnTo>
                <a:lnTo>
                  <a:pt x="4320045" y="12959925"/>
                </a:lnTo>
                <a:lnTo>
                  <a:pt x="5040046" y="12959925"/>
                </a:lnTo>
                <a:close/>
                <a:moveTo>
                  <a:pt x="38" y="12239926"/>
                </a:moveTo>
                <a:lnTo>
                  <a:pt x="720036" y="12239926"/>
                </a:lnTo>
                <a:lnTo>
                  <a:pt x="720036" y="13679925"/>
                </a:lnTo>
                <a:lnTo>
                  <a:pt x="720032" y="13679925"/>
                </a:lnTo>
                <a:lnTo>
                  <a:pt x="720032" y="13679926"/>
                </a:lnTo>
                <a:lnTo>
                  <a:pt x="38" y="13679926"/>
                </a:lnTo>
                <a:close/>
                <a:moveTo>
                  <a:pt x="7920010" y="11519932"/>
                </a:moveTo>
                <a:lnTo>
                  <a:pt x="8640006" y="11519932"/>
                </a:lnTo>
                <a:lnTo>
                  <a:pt x="8640006" y="12239924"/>
                </a:lnTo>
                <a:lnTo>
                  <a:pt x="7920010" y="12239924"/>
                </a:lnTo>
                <a:close/>
                <a:moveTo>
                  <a:pt x="23040003" y="11519929"/>
                </a:moveTo>
                <a:lnTo>
                  <a:pt x="23760003" y="11519929"/>
                </a:lnTo>
                <a:lnTo>
                  <a:pt x="23760003" y="12959925"/>
                </a:lnTo>
                <a:lnTo>
                  <a:pt x="23040003" y="12959925"/>
                </a:lnTo>
                <a:close/>
                <a:moveTo>
                  <a:pt x="15840003" y="11519929"/>
                </a:moveTo>
                <a:lnTo>
                  <a:pt x="16560003" y="11519929"/>
                </a:lnTo>
                <a:lnTo>
                  <a:pt x="16560003" y="11519932"/>
                </a:lnTo>
                <a:lnTo>
                  <a:pt x="17280001" y="11519932"/>
                </a:lnTo>
                <a:lnTo>
                  <a:pt x="17280001" y="11519929"/>
                </a:lnTo>
                <a:lnTo>
                  <a:pt x="18000003" y="11519929"/>
                </a:lnTo>
                <a:lnTo>
                  <a:pt x="18000003" y="11519932"/>
                </a:lnTo>
                <a:lnTo>
                  <a:pt x="18720003" y="11519932"/>
                </a:lnTo>
                <a:lnTo>
                  <a:pt x="18720003" y="12239924"/>
                </a:lnTo>
                <a:lnTo>
                  <a:pt x="15840003" y="12239924"/>
                </a:lnTo>
                <a:close/>
                <a:moveTo>
                  <a:pt x="12240002" y="11519929"/>
                </a:moveTo>
                <a:lnTo>
                  <a:pt x="13680001" y="11519929"/>
                </a:lnTo>
                <a:lnTo>
                  <a:pt x="13680001" y="11519932"/>
                </a:lnTo>
                <a:lnTo>
                  <a:pt x="13680002" y="11519932"/>
                </a:lnTo>
                <a:lnTo>
                  <a:pt x="13680002" y="12239924"/>
                </a:lnTo>
                <a:lnTo>
                  <a:pt x="12240002" y="12239924"/>
                </a:lnTo>
                <a:close/>
                <a:moveTo>
                  <a:pt x="9360017" y="11519929"/>
                </a:moveTo>
                <a:lnTo>
                  <a:pt x="9360021" y="11519929"/>
                </a:lnTo>
                <a:lnTo>
                  <a:pt x="9360021" y="11519932"/>
                </a:lnTo>
                <a:lnTo>
                  <a:pt x="10080012" y="11519932"/>
                </a:lnTo>
                <a:lnTo>
                  <a:pt x="10080012" y="11519929"/>
                </a:lnTo>
                <a:lnTo>
                  <a:pt x="10800009" y="11519929"/>
                </a:lnTo>
                <a:lnTo>
                  <a:pt x="10800009" y="11519932"/>
                </a:lnTo>
                <a:lnTo>
                  <a:pt x="11520004" y="11519932"/>
                </a:lnTo>
                <a:lnTo>
                  <a:pt x="11520004" y="12239924"/>
                </a:lnTo>
                <a:lnTo>
                  <a:pt x="9360017" y="12239924"/>
                </a:lnTo>
                <a:close/>
                <a:moveTo>
                  <a:pt x="16560003" y="10799935"/>
                </a:moveTo>
                <a:lnTo>
                  <a:pt x="17280001" y="10799935"/>
                </a:lnTo>
                <a:lnTo>
                  <a:pt x="17280001" y="11519929"/>
                </a:lnTo>
                <a:lnTo>
                  <a:pt x="16560003" y="11519929"/>
                </a:lnTo>
                <a:close/>
                <a:moveTo>
                  <a:pt x="6480012" y="10799935"/>
                </a:moveTo>
                <a:lnTo>
                  <a:pt x="7200014" y="10799935"/>
                </a:lnTo>
                <a:lnTo>
                  <a:pt x="7200014" y="11519932"/>
                </a:lnTo>
                <a:lnTo>
                  <a:pt x="6480012" y="11519932"/>
                </a:lnTo>
                <a:close/>
                <a:moveTo>
                  <a:pt x="3600051" y="10799935"/>
                </a:moveTo>
                <a:lnTo>
                  <a:pt x="4320049" y="10799935"/>
                </a:lnTo>
                <a:lnTo>
                  <a:pt x="4320049" y="11519932"/>
                </a:lnTo>
                <a:lnTo>
                  <a:pt x="6480012" y="11519932"/>
                </a:lnTo>
                <a:lnTo>
                  <a:pt x="6480012" y="12239924"/>
                </a:lnTo>
                <a:lnTo>
                  <a:pt x="3600046" y="12239924"/>
                </a:lnTo>
                <a:lnTo>
                  <a:pt x="3600046" y="11519932"/>
                </a:lnTo>
                <a:lnTo>
                  <a:pt x="3600051" y="11519932"/>
                </a:lnTo>
                <a:close/>
                <a:moveTo>
                  <a:pt x="2160048" y="10799935"/>
                </a:moveTo>
                <a:lnTo>
                  <a:pt x="2880054" y="10799935"/>
                </a:lnTo>
                <a:lnTo>
                  <a:pt x="2880054" y="13679925"/>
                </a:lnTo>
                <a:lnTo>
                  <a:pt x="2880042" y="13679925"/>
                </a:lnTo>
                <a:lnTo>
                  <a:pt x="2880042" y="13679926"/>
                </a:lnTo>
                <a:lnTo>
                  <a:pt x="2160048" y="13679926"/>
                </a:lnTo>
                <a:close/>
                <a:moveTo>
                  <a:pt x="15840003" y="10079946"/>
                </a:moveTo>
                <a:lnTo>
                  <a:pt x="16560003" y="10079946"/>
                </a:lnTo>
                <a:lnTo>
                  <a:pt x="16560003" y="10799935"/>
                </a:lnTo>
                <a:lnTo>
                  <a:pt x="15840003" y="10799935"/>
                </a:lnTo>
                <a:close/>
                <a:moveTo>
                  <a:pt x="720047" y="10079946"/>
                </a:moveTo>
                <a:lnTo>
                  <a:pt x="1440053" y="10079946"/>
                </a:lnTo>
                <a:lnTo>
                  <a:pt x="1440053" y="11519932"/>
                </a:lnTo>
                <a:lnTo>
                  <a:pt x="720044" y="11519932"/>
                </a:lnTo>
                <a:lnTo>
                  <a:pt x="720044" y="10079947"/>
                </a:lnTo>
                <a:lnTo>
                  <a:pt x="720047" y="10079947"/>
                </a:lnTo>
                <a:close/>
                <a:moveTo>
                  <a:pt x="14400003" y="9359950"/>
                </a:moveTo>
                <a:lnTo>
                  <a:pt x="15120001" y="9359950"/>
                </a:lnTo>
                <a:lnTo>
                  <a:pt x="15120001" y="10799935"/>
                </a:lnTo>
                <a:lnTo>
                  <a:pt x="15840001" y="10799935"/>
                </a:lnTo>
                <a:lnTo>
                  <a:pt x="15840001" y="11519932"/>
                </a:lnTo>
                <a:lnTo>
                  <a:pt x="15120001" y="11519932"/>
                </a:lnTo>
                <a:lnTo>
                  <a:pt x="15120001" y="10799937"/>
                </a:lnTo>
                <a:lnTo>
                  <a:pt x="14400003" y="10799937"/>
                </a:lnTo>
                <a:close/>
                <a:moveTo>
                  <a:pt x="12960001" y="9359950"/>
                </a:moveTo>
                <a:lnTo>
                  <a:pt x="13680001" y="9359950"/>
                </a:lnTo>
                <a:lnTo>
                  <a:pt x="13680001" y="10799935"/>
                </a:lnTo>
                <a:lnTo>
                  <a:pt x="14399999" y="10799935"/>
                </a:lnTo>
                <a:lnTo>
                  <a:pt x="14399999" y="11519932"/>
                </a:lnTo>
                <a:lnTo>
                  <a:pt x="13680002" y="11519932"/>
                </a:lnTo>
                <a:lnTo>
                  <a:pt x="13680002" y="11519929"/>
                </a:lnTo>
                <a:lnTo>
                  <a:pt x="13680001" y="11519929"/>
                </a:lnTo>
                <a:lnTo>
                  <a:pt x="13680001" y="10799937"/>
                </a:lnTo>
                <a:lnTo>
                  <a:pt x="12960001" y="10799937"/>
                </a:lnTo>
                <a:close/>
                <a:moveTo>
                  <a:pt x="49" y="9359950"/>
                </a:moveTo>
                <a:lnTo>
                  <a:pt x="720047" y="9359950"/>
                </a:lnTo>
                <a:lnTo>
                  <a:pt x="720047" y="10079946"/>
                </a:lnTo>
                <a:lnTo>
                  <a:pt x="720044" y="10079946"/>
                </a:lnTo>
                <a:lnTo>
                  <a:pt x="720044" y="10079947"/>
                </a:lnTo>
                <a:lnTo>
                  <a:pt x="49" y="10079947"/>
                </a:lnTo>
                <a:close/>
                <a:moveTo>
                  <a:pt x="18000003" y="8639936"/>
                </a:moveTo>
                <a:lnTo>
                  <a:pt x="18720001" y="8639936"/>
                </a:lnTo>
                <a:lnTo>
                  <a:pt x="18720001" y="9359950"/>
                </a:lnTo>
                <a:lnTo>
                  <a:pt x="18000003" y="9359950"/>
                </a:lnTo>
                <a:close/>
                <a:moveTo>
                  <a:pt x="19440003" y="8639934"/>
                </a:moveTo>
                <a:lnTo>
                  <a:pt x="20160003" y="8639934"/>
                </a:lnTo>
                <a:lnTo>
                  <a:pt x="20160003" y="8639936"/>
                </a:lnTo>
                <a:lnTo>
                  <a:pt x="21600003" y="8639936"/>
                </a:lnTo>
                <a:lnTo>
                  <a:pt x="21600003" y="9359950"/>
                </a:lnTo>
                <a:lnTo>
                  <a:pt x="20160003" y="9359950"/>
                </a:lnTo>
                <a:lnTo>
                  <a:pt x="20160003" y="10079946"/>
                </a:lnTo>
                <a:lnTo>
                  <a:pt x="20160003" y="10799935"/>
                </a:lnTo>
                <a:lnTo>
                  <a:pt x="19440003" y="10799935"/>
                </a:lnTo>
                <a:lnTo>
                  <a:pt x="19440003" y="11519929"/>
                </a:lnTo>
                <a:lnTo>
                  <a:pt x="20160003" y="11519929"/>
                </a:lnTo>
                <a:lnTo>
                  <a:pt x="20160003" y="11519932"/>
                </a:lnTo>
                <a:lnTo>
                  <a:pt x="20880003" y="11519932"/>
                </a:lnTo>
                <a:lnTo>
                  <a:pt x="20880003" y="12239924"/>
                </a:lnTo>
                <a:lnTo>
                  <a:pt x="19440003" y="12239924"/>
                </a:lnTo>
                <a:lnTo>
                  <a:pt x="19440003" y="11519932"/>
                </a:lnTo>
                <a:lnTo>
                  <a:pt x="18720003" y="11519932"/>
                </a:lnTo>
                <a:lnTo>
                  <a:pt x="18720003" y="11519929"/>
                </a:lnTo>
                <a:lnTo>
                  <a:pt x="18000003" y="11519929"/>
                </a:lnTo>
                <a:lnTo>
                  <a:pt x="18000003" y="10799935"/>
                </a:lnTo>
                <a:lnTo>
                  <a:pt x="18000003" y="10079946"/>
                </a:lnTo>
                <a:lnTo>
                  <a:pt x="19440003" y="10079946"/>
                </a:lnTo>
                <a:lnTo>
                  <a:pt x="19440003" y="9359950"/>
                </a:lnTo>
                <a:close/>
                <a:moveTo>
                  <a:pt x="16560003" y="8639934"/>
                </a:moveTo>
                <a:lnTo>
                  <a:pt x="17280001" y="8639934"/>
                </a:lnTo>
                <a:lnTo>
                  <a:pt x="17280001" y="8639936"/>
                </a:lnTo>
                <a:lnTo>
                  <a:pt x="17280003" y="8639936"/>
                </a:lnTo>
                <a:lnTo>
                  <a:pt x="17280003" y="9359950"/>
                </a:lnTo>
                <a:lnTo>
                  <a:pt x="17280001" y="9359950"/>
                </a:lnTo>
                <a:lnTo>
                  <a:pt x="17280001" y="10079946"/>
                </a:lnTo>
                <a:lnTo>
                  <a:pt x="16560003" y="10079946"/>
                </a:lnTo>
                <a:lnTo>
                  <a:pt x="16560003" y="9359950"/>
                </a:lnTo>
                <a:lnTo>
                  <a:pt x="15840003" y="9359950"/>
                </a:lnTo>
                <a:lnTo>
                  <a:pt x="15840003" y="8639936"/>
                </a:lnTo>
                <a:lnTo>
                  <a:pt x="16560003" y="8639936"/>
                </a:lnTo>
                <a:close/>
                <a:moveTo>
                  <a:pt x="13680002" y="8639934"/>
                </a:moveTo>
                <a:lnTo>
                  <a:pt x="14399999" y="8639934"/>
                </a:lnTo>
                <a:lnTo>
                  <a:pt x="14399999" y="9359950"/>
                </a:lnTo>
                <a:lnTo>
                  <a:pt x="13680001" y="9359950"/>
                </a:lnTo>
                <a:lnTo>
                  <a:pt x="13680001" y="8639936"/>
                </a:lnTo>
                <a:lnTo>
                  <a:pt x="13680002" y="8639936"/>
                </a:lnTo>
                <a:close/>
                <a:moveTo>
                  <a:pt x="10800017" y="7919941"/>
                </a:moveTo>
                <a:lnTo>
                  <a:pt x="11520004" y="7919941"/>
                </a:lnTo>
                <a:lnTo>
                  <a:pt x="11520004" y="8639936"/>
                </a:lnTo>
                <a:lnTo>
                  <a:pt x="12240002" y="8639936"/>
                </a:lnTo>
                <a:lnTo>
                  <a:pt x="12240002" y="9359950"/>
                </a:lnTo>
                <a:lnTo>
                  <a:pt x="10800012" y="9359950"/>
                </a:lnTo>
                <a:lnTo>
                  <a:pt x="10800012" y="8639936"/>
                </a:lnTo>
                <a:lnTo>
                  <a:pt x="10800017" y="8639936"/>
                </a:lnTo>
                <a:close/>
                <a:moveTo>
                  <a:pt x="720053" y="7919941"/>
                </a:moveTo>
                <a:lnTo>
                  <a:pt x="2160062" y="7919941"/>
                </a:lnTo>
                <a:lnTo>
                  <a:pt x="2160062" y="8639936"/>
                </a:lnTo>
                <a:lnTo>
                  <a:pt x="2880062" y="8639936"/>
                </a:lnTo>
                <a:lnTo>
                  <a:pt x="2880062" y="9359950"/>
                </a:lnTo>
                <a:lnTo>
                  <a:pt x="2880062" y="10079947"/>
                </a:lnTo>
                <a:lnTo>
                  <a:pt x="2160054" y="10079947"/>
                </a:lnTo>
                <a:lnTo>
                  <a:pt x="2160054" y="9359950"/>
                </a:lnTo>
                <a:lnTo>
                  <a:pt x="1440055" y="9359950"/>
                </a:lnTo>
                <a:lnTo>
                  <a:pt x="1440055" y="8639936"/>
                </a:lnTo>
                <a:lnTo>
                  <a:pt x="720053" y="8639936"/>
                </a:lnTo>
                <a:close/>
                <a:moveTo>
                  <a:pt x="23040003" y="7919939"/>
                </a:moveTo>
                <a:lnTo>
                  <a:pt x="23760003" y="7919939"/>
                </a:lnTo>
                <a:lnTo>
                  <a:pt x="23760003" y="8639936"/>
                </a:lnTo>
                <a:lnTo>
                  <a:pt x="23040003" y="8639936"/>
                </a:lnTo>
                <a:close/>
                <a:moveTo>
                  <a:pt x="15840003" y="7919939"/>
                </a:moveTo>
                <a:lnTo>
                  <a:pt x="16560003" y="7919939"/>
                </a:lnTo>
                <a:lnTo>
                  <a:pt x="16560003" y="8639934"/>
                </a:lnTo>
                <a:lnTo>
                  <a:pt x="15840003" y="8639934"/>
                </a:lnTo>
                <a:lnTo>
                  <a:pt x="15840003" y="8639936"/>
                </a:lnTo>
                <a:lnTo>
                  <a:pt x="15120001" y="8639936"/>
                </a:lnTo>
                <a:lnTo>
                  <a:pt x="15120001" y="7919941"/>
                </a:lnTo>
                <a:lnTo>
                  <a:pt x="15840003" y="7919941"/>
                </a:lnTo>
                <a:close/>
                <a:moveTo>
                  <a:pt x="12960001" y="7919939"/>
                </a:moveTo>
                <a:lnTo>
                  <a:pt x="13680002" y="7919939"/>
                </a:lnTo>
                <a:lnTo>
                  <a:pt x="13680002" y="8639934"/>
                </a:lnTo>
                <a:lnTo>
                  <a:pt x="13680001" y="8639934"/>
                </a:lnTo>
                <a:lnTo>
                  <a:pt x="13680001" y="8639936"/>
                </a:lnTo>
                <a:lnTo>
                  <a:pt x="12240002" y="8639936"/>
                </a:lnTo>
                <a:lnTo>
                  <a:pt x="12240002" y="7919941"/>
                </a:lnTo>
                <a:lnTo>
                  <a:pt x="12960001" y="7919941"/>
                </a:lnTo>
                <a:close/>
                <a:moveTo>
                  <a:pt x="7920015" y="7919939"/>
                </a:moveTo>
                <a:lnTo>
                  <a:pt x="8640010" y="7919939"/>
                </a:lnTo>
                <a:lnTo>
                  <a:pt x="8640010" y="8639936"/>
                </a:lnTo>
                <a:lnTo>
                  <a:pt x="9360021" y="8639936"/>
                </a:lnTo>
                <a:lnTo>
                  <a:pt x="9360021" y="9359950"/>
                </a:lnTo>
                <a:lnTo>
                  <a:pt x="9360021" y="10079946"/>
                </a:lnTo>
                <a:lnTo>
                  <a:pt x="12240002" y="10079946"/>
                </a:lnTo>
                <a:lnTo>
                  <a:pt x="12240002" y="10799935"/>
                </a:lnTo>
                <a:lnTo>
                  <a:pt x="11520004" y="10799935"/>
                </a:lnTo>
                <a:lnTo>
                  <a:pt x="11520004" y="11519929"/>
                </a:lnTo>
                <a:lnTo>
                  <a:pt x="10800009" y="11519929"/>
                </a:lnTo>
                <a:lnTo>
                  <a:pt x="10800009" y="10799935"/>
                </a:lnTo>
                <a:lnTo>
                  <a:pt x="10080012" y="10799935"/>
                </a:lnTo>
                <a:lnTo>
                  <a:pt x="10080012" y="11519929"/>
                </a:lnTo>
                <a:lnTo>
                  <a:pt x="9360021" y="11519929"/>
                </a:lnTo>
                <a:lnTo>
                  <a:pt x="9360021" y="10799935"/>
                </a:lnTo>
                <a:lnTo>
                  <a:pt x="9360021" y="10079947"/>
                </a:lnTo>
                <a:lnTo>
                  <a:pt x="8640008" y="10079947"/>
                </a:lnTo>
                <a:lnTo>
                  <a:pt x="8640008" y="9359950"/>
                </a:lnTo>
                <a:lnTo>
                  <a:pt x="7920011" y="9359950"/>
                </a:lnTo>
                <a:lnTo>
                  <a:pt x="7920011" y="10079947"/>
                </a:lnTo>
                <a:lnTo>
                  <a:pt x="5040054" y="10079947"/>
                </a:lnTo>
                <a:lnTo>
                  <a:pt x="5040054" y="10799935"/>
                </a:lnTo>
                <a:lnTo>
                  <a:pt x="4320049" y="10799935"/>
                </a:lnTo>
                <a:lnTo>
                  <a:pt x="4320049" y="10079946"/>
                </a:lnTo>
                <a:lnTo>
                  <a:pt x="5040054" y="10079946"/>
                </a:lnTo>
                <a:lnTo>
                  <a:pt x="5040054" y="9359950"/>
                </a:lnTo>
                <a:lnTo>
                  <a:pt x="5760012" y="9359950"/>
                </a:lnTo>
                <a:lnTo>
                  <a:pt x="5760012" y="8639936"/>
                </a:lnTo>
                <a:lnTo>
                  <a:pt x="6480016" y="8639936"/>
                </a:lnTo>
                <a:lnTo>
                  <a:pt x="6480016" y="9359950"/>
                </a:lnTo>
                <a:lnTo>
                  <a:pt x="7200014" y="9359950"/>
                </a:lnTo>
                <a:lnTo>
                  <a:pt x="7200014" y="8639936"/>
                </a:lnTo>
                <a:lnTo>
                  <a:pt x="7200014" y="7919941"/>
                </a:lnTo>
                <a:lnTo>
                  <a:pt x="7920015" y="7919941"/>
                </a:lnTo>
                <a:close/>
                <a:moveTo>
                  <a:pt x="7200014" y="7199951"/>
                </a:moveTo>
                <a:lnTo>
                  <a:pt x="7920015" y="7199951"/>
                </a:lnTo>
                <a:lnTo>
                  <a:pt x="7920015" y="7919939"/>
                </a:lnTo>
                <a:lnTo>
                  <a:pt x="7200014" y="7919939"/>
                </a:lnTo>
                <a:close/>
                <a:moveTo>
                  <a:pt x="5760013" y="7199951"/>
                </a:moveTo>
                <a:lnTo>
                  <a:pt x="6480016" y="7199951"/>
                </a:lnTo>
                <a:lnTo>
                  <a:pt x="6480016" y="7919941"/>
                </a:lnTo>
                <a:lnTo>
                  <a:pt x="5760013" y="7919941"/>
                </a:lnTo>
                <a:close/>
                <a:moveTo>
                  <a:pt x="57" y="7199947"/>
                </a:moveTo>
                <a:lnTo>
                  <a:pt x="720058" y="7199947"/>
                </a:lnTo>
                <a:lnTo>
                  <a:pt x="720058" y="7199951"/>
                </a:lnTo>
                <a:lnTo>
                  <a:pt x="1440064" y="7199951"/>
                </a:lnTo>
                <a:lnTo>
                  <a:pt x="1440064" y="7199947"/>
                </a:lnTo>
                <a:lnTo>
                  <a:pt x="2880069" y="7199947"/>
                </a:lnTo>
                <a:lnTo>
                  <a:pt x="2880069" y="7919939"/>
                </a:lnTo>
                <a:lnTo>
                  <a:pt x="3600063" y="7919939"/>
                </a:lnTo>
                <a:lnTo>
                  <a:pt x="3600063" y="8639936"/>
                </a:lnTo>
                <a:lnTo>
                  <a:pt x="5040054" y="8639936"/>
                </a:lnTo>
                <a:lnTo>
                  <a:pt x="5040054" y="9359950"/>
                </a:lnTo>
                <a:lnTo>
                  <a:pt x="3600060" y="9359950"/>
                </a:lnTo>
                <a:lnTo>
                  <a:pt x="3600060" y="8639936"/>
                </a:lnTo>
                <a:lnTo>
                  <a:pt x="2880069" y="8639936"/>
                </a:lnTo>
                <a:lnTo>
                  <a:pt x="2880069" y="7919941"/>
                </a:lnTo>
                <a:lnTo>
                  <a:pt x="2160062" y="7919941"/>
                </a:lnTo>
                <a:lnTo>
                  <a:pt x="2160062" y="7919939"/>
                </a:lnTo>
                <a:lnTo>
                  <a:pt x="720053" y="7919939"/>
                </a:lnTo>
                <a:lnTo>
                  <a:pt x="720053" y="7919941"/>
                </a:lnTo>
                <a:lnTo>
                  <a:pt x="57" y="7919941"/>
                </a:lnTo>
                <a:close/>
                <a:moveTo>
                  <a:pt x="16560003" y="6479935"/>
                </a:moveTo>
                <a:lnTo>
                  <a:pt x="17280001" y="6479935"/>
                </a:lnTo>
                <a:lnTo>
                  <a:pt x="17280001" y="7199947"/>
                </a:lnTo>
                <a:lnTo>
                  <a:pt x="16560003" y="7199947"/>
                </a:lnTo>
                <a:close/>
                <a:moveTo>
                  <a:pt x="19440003" y="5759935"/>
                </a:moveTo>
                <a:lnTo>
                  <a:pt x="20880003" y="5759935"/>
                </a:lnTo>
                <a:lnTo>
                  <a:pt x="20880003" y="6479935"/>
                </a:lnTo>
                <a:lnTo>
                  <a:pt x="22320003" y="6479935"/>
                </a:lnTo>
                <a:lnTo>
                  <a:pt x="22320003" y="7199947"/>
                </a:lnTo>
                <a:lnTo>
                  <a:pt x="23040003" y="7199947"/>
                </a:lnTo>
                <a:lnTo>
                  <a:pt x="23040003" y="5759935"/>
                </a:lnTo>
                <a:lnTo>
                  <a:pt x="23760003" y="5759935"/>
                </a:lnTo>
                <a:lnTo>
                  <a:pt x="23760003" y="7199951"/>
                </a:lnTo>
                <a:lnTo>
                  <a:pt x="23040003" y="7199951"/>
                </a:lnTo>
                <a:lnTo>
                  <a:pt x="23040003" y="7919939"/>
                </a:lnTo>
                <a:lnTo>
                  <a:pt x="22320003" y="7919939"/>
                </a:lnTo>
                <a:lnTo>
                  <a:pt x="22320003" y="8639934"/>
                </a:lnTo>
                <a:lnTo>
                  <a:pt x="23040001" y="8639934"/>
                </a:lnTo>
                <a:lnTo>
                  <a:pt x="23040001" y="9359950"/>
                </a:lnTo>
                <a:lnTo>
                  <a:pt x="23760001" y="9359950"/>
                </a:lnTo>
                <a:lnTo>
                  <a:pt x="23760001" y="10079946"/>
                </a:lnTo>
                <a:lnTo>
                  <a:pt x="23040001" y="10079946"/>
                </a:lnTo>
                <a:lnTo>
                  <a:pt x="23040001" y="10799935"/>
                </a:lnTo>
                <a:lnTo>
                  <a:pt x="22320003" y="10799935"/>
                </a:lnTo>
                <a:lnTo>
                  <a:pt x="22320003" y="11519932"/>
                </a:lnTo>
                <a:lnTo>
                  <a:pt x="20880003" y="11519932"/>
                </a:lnTo>
                <a:lnTo>
                  <a:pt x="20880003" y="11519929"/>
                </a:lnTo>
                <a:lnTo>
                  <a:pt x="20160003" y="11519929"/>
                </a:lnTo>
                <a:lnTo>
                  <a:pt x="20160003" y="10799935"/>
                </a:lnTo>
                <a:lnTo>
                  <a:pt x="20880001" y="10799935"/>
                </a:lnTo>
                <a:lnTo>
                  <a:pt x="20880001" y="10079946"/>
                </a:lnTo>
                <a:lnTo>
                  <a:pt x="22320003" y="10079946"/>
                </a:lnTo>
                <a:lnTo>
                  <a:pt x="22320003" y="9359950"/>
                </a:lnTo>
                <a:lnTo>
                  <a:pt x="22320003" y="8639936"/>
                </a:lnTo>
                <a:lnTo>
                  <a:pt x="21600003" y="8639936"/>
                </a:lnTo>
                <a:lnTo>
                  <a:pt x="21600003" y="8639934"/>
                </a:lnTo>
                <a:lnTo>
                  <a:pt x="20160003" y="8639934"/>
                </a:lnTo>
                <a:lnTo>
                  <a:pt x="20160003" y="7919939"/>
                </a:lnTo>
                <a:lnTo>
                  <a:pt x="20160003" y="7199947"/>
                </a:lnTo>
                <a:lnTo>
                  <a:pt x="20880001" y="7199947"/>
                </a:lnTo>
                <a:lnTo>
                  <a:pt x="20880001" y="7919939"/>
                </a:lnTo>
                <a:lnTo>
                  <a:pt x="21600003" y="7919939"/>
                </a:lnTo>
                <a:lnTo>
                  <a:pt x="21600003" y="7199947"/>
                </a:lnTo>
                <a:lnTo>
                  <a:pt x="20880001" y="7199947"/>
                </a:lnTo>
                <a:lnTo>
                  <a:pt x="20880001" y="6479935"/>
                </a:lnTo>
                <a:lnTo>
                  <a:pt x="20160003" y="6479935"/>
                </a:lnTo>
                <a:lnTo>
                  <a:pt x="20160003" y="7199947"/>
                </a:lnTo>
                <a:lnTo>
                  <a:pt x="19440001" y="7199947"/>
                </a:lnTo>
                <a:lnTo>
                  <a:pt x="19440001" y="8639936"/>
                </a:lnTo>
                <a:lnTo>
                  <a:pt x="18720001" y="8639936"/>
                </a:lnTo>
                <a:lnTo>
                  <a:pt x="18720001" y="8639934"/>
                </a:lnTo>
                <a:lnTo>
                  <a:pt x="18000003" y="8639934"/>
                </a:lnTo>
                <a:lnTo>
                  <a:pt x="18000003" y="8639936"/>
                </a:lnTo>
                <a:lnTo>
                  <a:pt x="17280003" y="8639936"/>
                </a:lnTo>
                <a:lnTo>
                  <a:pt x="17280003" y="8639934"/>
                </a:lnTo>
                <a:lnTo>
                  <a:pt x="17280001" y="8639934"/>
                </a:lnTo>
                <a:lnTo>
                  <a:pt x="17280001" y="7199947"/>
                </a:lnTo>
                <a:lnTo>
                  <a:pt x="18720001" y="7199947"/>
                </a:lnTo>
                <a:lnTo>
                  <a:pt x="18720001" y="6479935"/>
                </a:lnTo>
                <a:lnTo>
                  <a:pt x="19440003" y="6479935"/>
                </a:lnTo>
                <a:close/>
                <a:moveTo>
                  <a:pt x="6480016" y="5759935"/>
                </a:moveTo>
                <a:lnTo>
                  <a:pt x="7200014" y="5759935"/>
                </a:lnTo>
                <a:lnTo>
                  <a:pt x="7200014" y="5759938"/>
                </a:lnTo>
                <a:lnTo>
                  <a:pt x="9360027" y="5759938"/>
                </a:lnTo>
                <a:lnTo>
                  <a:pt x="9360027" y="6479935"/>
                </a:lnTo>
                <a:lnTo>
                  <a:pt x="10080030" y="6479935"/>
                </a:lnTo>
                <a:lnTo>
                  <a:pt x="10080030" y="7199947"/>
                </a:lnTo>
                <a:lnTo>
                  <a:pt x="9360022" y="7199947"/>
                </a:lnTo>
                <a:lnTo>
                  <a:pt x="9360022" y="6479935"/>
                </a:lnTo>
                <a:lnTo>
                  <a:pt x="7920015" y="6479935"/>
                </a:lnTo>
                <a:lnTo>
                  <a:pt x="7920015" y="7199947"/>
                </a:lnTo>
                <a:lnTo>
                  <a:pt x="7200014" y="7199947"/>
                </a:lnTo>
                <a:lnTo>
                  <a:pt x="7200014" y="7199951"/>
                </a:lnTo>
                <a:lnTo>
                  <a:pt x="6480016" y="7199951"/>
                </a:lnTo>
                <a:lnTo>
                  <a:pt x="6480016" y="7199947"/>
                </a:lnTo>
                <a:lnTo>
                  <a:pt x="5760013" y="7199947"/>
                </a:lnTo>
                <a:lnTo>
                  <a:pt x="5760013" y="7199951"/>
                </a:lnTo>
                <a:lnTo>
                  <a:pt x="5040063" y="7199951"/>
                </a:lnTo>
                <a:lnTo>
                  <a:pt x="5040063" y="7919939"/>
                </a:lnTo>
                <a:lnTo>
                  <a:pt x="5760012" y="7919939"/>
                </a:lnTo>
                <a:lnTo>
                  <a:pt x="5760012" y="8639936"/>
                </a:lnTo>
                <a:lnTo>
                  <a:pt x="5040063" y="8639936"/>
                </a:lnTo>
                <a:lnTo>
                  <a:pt x="5040063" y="7919941"/>
                </a:lnTo>
                <a:lnTo>
                  <a:pt x="3600068" y="7919941"/>
                </a:lnTo>
                <a:lnTo>
                  <a:pt x="3600068" y="7199951"/>
                </a:lnTo>
                <a:lnTo>
                  <a:pt x="4320077" y="7199951"/>
                </a:lnTo>
                <a:lnTo>
                  <a:pt x="4320077" y="7199947"/>
                </a:lnTo>
                <a:lnTo>
                  <a:pt x="5040063" y="7199947"/>
                </a:lnTo>
                <a:lnTo>
                  <a:pt x="5040063" y="6479935"/>
                </a:lnTo>
                <a:lnTo>
                  <a:pt x="4320077" y="6479935"/>
                </a:lnTo>
                <a:lnTo>
                  <a:pt x="4320077" y="7199947"/>
                </a:lnTo>
                <a:lnTo>
                  <a:pt x="3600068" y="7199947"/>
                </a:lnTo>
                <a:lnTo>
                  <a:pt x="3600068" y="7199951"/>
                </a:lnTo>
                <a:lnTo>
                  <a:pt x="2880074" y="7199951"/>
                </a:lnTo>
                <a:lnTo>
                  <a:pt x="2880074" y="6479935"/>
                </a:lnTo>
                <a:lnTo>
                  <a:pt x="1440064" y="6479935"/>
                </a:lnTo>
                <a:lnTo>
                  <a:pt x="1440064" y="7199947"/>
                </a:lnTo>
                <a:lnTo>
                  <a:pt x="720058" y="7199947"/>
                </a:lnTo>
                <a:lnTo>
                  <a:pt x="720058" y="6479935"/>
                </a:lnTo>
                <a:lnTo>
                  <a:pt x="720062" y="6479935"/>
                </a:lnTo>
                <a:lnTo>
                  <a:pt x="720062" y="5759938"/>
                </a:lnTo>
                <a:lnTo>
                  <a:pt x="5760013" y="5759938"/>
                </a:lnTo>
                <a:lnTo>
                  <a:pt x="5760013" y="6479935"/>
                </a:lnTo>
                <a:lnTo>
                  <a:pt x="6480016" y="6479935"/>
                </a:lnTo>
                <a:close/>
                <a:moveTo>
                  <a:pt x="15120001" y="5039995"/>
                </a:moveTo>
                <a:lnTo>
                  <a:pt x="15840001" y="5039995"/>
                </a:lnTo>
                <a:lnTo>
                  <a:pt x="15840001" y="5759938"/>
                </a:lnTo>
                <a:lnTo>
                  <a:pt x="15120001" y="5759938"/>
                </a:lnTo>
                <a:close/>
                <a:moveTo>
                  <a:pt x="10800017" y="4320008"/>
                </a:moveTo>
                <a:lnTo>
                  <a:pt x="10800017" y="5039995"/>
                </a:lnTo>
                <a:lnTo>
                  <a:pt x="11520004" y="5039995"/>
                </a:lnTo>
                <a:lnTo>
                  <a:pt x="11520004" y="4320008"/>
                </a:lnTo>
                <a:close/>
                <a:moveTo>
                  <a:pt x="9360027" y="4320008"/>
                </a:moveTo>
                <a:lnTo>
                  <a:pt x="9360027" y="5039995"/>
                </a:lnTo>
                <a:lnTo>
                  <a:pt x="10080030" y="5039995"/>
                </a:lnTo>
                <a:lnTo>
                  <a:pt x="10080030" y="4320008"/>
                </a:lnTo>
                <a:close/>
                <a:moveTo>
                  <a:pt x="17280001" y="4320000"/>
                </a:moveTo>
                <a:lnTo>
                  <a:pt x="17999999" y="4320000"/>
                </a:lnTo>
                <a:lnTo>
                  <a:pt x="17999999" y="5759938"/>
                </a:lnTo>
                <a:lnTo>
                  <a:pt x="17280001" y="5759938"/>
                </a:lnTo>
                <a:close/>
                <a:moveTo>
                  <a:pt x="15840003" y="4320000"/>
                </a:moveTo>
                <a:lnTo>
                  <a:pt x="16560003" y="4320000"/>
                </a:lnTo>
                <a:lnTo>
                  <a:pt x="16560003" y="5039995"/>
                </a:lnTo>
                <a:lnTo>
                  <a:pt x="15840003" y="5039995"/>
                </a:lnTo>
                <a:close/>
                <a:moveTo>
                  <a:pt x="12960001" y="4320000"/>
                </a:moveTo>
                <a:lnTo>
                  <a:pt x="13680001" y="4320000"/>
                </a:lnTo>
                <a:lnTo>
                  <a:pt x="13680001" y="5759938"/>
                </a:lnTo>
                <a:lnTo>
                  <a:pt x="12960001" y="5759938"/>
                </a:lnTo>
                <a:lnTo>
                  <a:pt x="12960001" y="6479935"/>
                </a:lnTo>
                <a:lnTo>
                  <a:pt x="15840003" y="6479935"/>
                </a:lnTo>
                <a:lnTo>
                  <a:pt x="15840003" y="7199947"/>
                </a:lnTo>
                <a:lnTo>
                  <a:pt x="15840003" y="7919939"/>
                </a:lnTo>
                <a:lnTo>
                  <a:pt x="15120001" y="7919939"/>
                </a:lnTo>
                <a:lnTo>
                  <a:pt x="15120001" y="7919941"/>
                </a:lnTo>
                <a:lnTo>
                  <a:pt x="14400003" y="7919941"/>
                </a:lnTo>
                <a:lnTo>
                  <a:pt x="14400003" y="7199947"/>
                </a:lnTo>
                <a:lnTo>
                  <a:pt x="12960001" y="7199947"/>
                </a:lnTo>
                <a:lnTo>
                  <a:pt x="12960001" y="7919939"/>
                </a:lnTo>
                <a:lnTo>
                  <a:pt x="12240002" y="7919939"/>
                </a:lnTo>
                <a:lnTo>
                  <a:pt x="12240002" y="7919941"/>
                </a:lnTo>
                <a:lnTo>
                  <a:pt x="11520004" y="7919941"/>
                </a:lnTo>
                <a:lnTo>
                  <a:pt x="11520004" y="7919939"/>
                </a:lnTo>
                <a:lnTo>
                  <a:pt x="10800017" y="7919939"/>
                </a:lnTo>
                <a:lnTo>
                  <a:pt x="10800017" y="7919941"/>
                </a:lnTo>
                <a:lnTo>
                  <a:pt x="9360022" y="7919941"/>
                </a:lnTo>
                <a:lnTo>
                  <a:pt x="9360022" y="7199951"/>
                </a:lnTo>
                <a:lnTo>
                  <a:pt x="10080030" y="7199951"/>
                </a:lnTo>
                <a:lnTo>
                  <a:pt x="10080030" y="7199947"/>
                </a:lnTo>
                <a:lnTo>
                  <a:pt x="10800017" y="7199947"/>
                </a:lnTo>
                <a:lnTo>
                  <a:pt x="10800017" y="6479935"/>
                </a:lnTo>
                <a:lnTo>
                  <a:pt x="10080030" y="6479935"/>
                </a:lnTo>
                <a:lnTo>
                  <a:pt x="10080030" y="5759938"/>
                </a:lnTo>
                <a:lnTo>
                  <a:pt x="11520004" y="5759938"/>
                </a:lnTo>
                <a:lnTo>
                  <a:pt x="11520004" y="6479935"/>
                </a:lnTo>
                <a:lnTo>
                  <a:pt x="12240002" y="6479935"/>
                </a:lnTo>
                <a:lnTo>
                  <a:pt x="12240002" y="5759935"/>
                </a:lnTo>
                <a:lnTo>
                  <a:pt x="12960001" y="5759935"/>
                </a:lnTo>
                <a:close/>
                <a:moveTo>
                  <a:pt x="66" y="4320000"/>
                </a:moveTo>
                <a:lnTo>
                  <a:pt x="73" y="4320000"/>
                </a:lnTo>
                <a:lnTo>
                  <a:pt x="73" y="4320014"/>
                </a:lnTo>
                <a:lnTo>
                  <a:pt x="720072" y="4320014"/>
                </a:lnTo>
                <a:lnTo>
                  <a:pt x="720072" y="4320000"/>
                </a:lnTo>
                <a:lnTo>
                  <a:pt x="4320094" y="4320000"/>
                </a:lnTo>
                <a:lnTo>
                  <a:pt x="4320094" y="4320014"/>
                </a:lnTo>
                <a:lnTo>
                  <a:pt x="5040071" y="4320014"/>
                </a:lnTo>
                <a:lnTo>
                  <a:pt x="5040071" y="5039995"/>
                </a:lnTo>
                <a:lnTo>
                  <a:pt x="66" y="5039995"/>
                </a:lnTo>
                <a:close/>
                <a:moveTo>
                  <a:pt x="19440001" y="4319997"/>
                </a:moveTo>
                <a:lnTo>
                  <a:pt x="23040003" y="4319997"/>
                </a:lnTo>
                <a:lnTo>
                  <a:pt x="23040003" y="4320014"/>
                </a:lnTo>
                <a:lnTo>
                  <a:pt x="23760001" y="4320014"/>
                </a:lnTo>
                <a:lnTo>
                  <a:pt x="23760001" y="5039995"/>
                </a:lnTo>
                <a:lnTo>
                  <a:pt x="18720001" y="5039995"/>
                </a:lnTo>
                <a:lnTo>
                  <a:pt x="18720001" y="4320014"/>
                </a:lnTo>
                <a:lnTo>
                  <a:pt x="19440001" y="4320014"/>
                </a:lnTo>
                <a:close/>
                <a:moveTo>
                  <a:pt x="14400003" y="3600001"/>
                </a:moveTo>
                <a:lnTo>
                  <a:pt x="15120001" y="3600001"/>
                </a:lnTo>
                <a:lnTo>
                  <a:pt x="15120001" y="5039995"/>
                </a:lnTo>
                <a:lnTo>
                  <a:pt x="14400003" y="5039995"/>
                </a:lnTo>
                <a:close/>
                <a:moveTo>
                  <a:pt x="7200014" y="3599998"/>
                </a:moveTo>
                <a:lnTo>
                  <a:pt x="7920020" y="3599998"/>
                </a:lnTo>
                <a:lnTo>
                  <a:pt x="7920020" y="3600009"/>
                </a:lnTo>
                <a:lnTo>
                  <a:pt x="8640012" y="3600009"/>
                </a:lnTo>
                <a:lnTo>
                  <a:pt x="8640012" y="4320000"/>
                </a:lnTo>
                <a:lnTo>
                  <a:pt x="9360027" y="4320000"/>
                </a:lnTo>
                <a:lnTo>
                  <a:pt x="9360027" y="3599998"/>
                </a:lnTo>
                <a:lnTo>
                  <a:pt x="9360034" y="3599998"/>
                </a:lnTo>
                <a:lnTo>
                  <a:pt x="9360034" y="3600001"/>
                </a:lnTo>
                <a:lnTo>
                  <a:pt x="10080030" y="3600001"/>
                </a:lnTo>
                <a:lnTo>
                  <a:pt x="10080030" y="4320000"/>
                </a:lnTo>
                <a:lnTo>
                  <a:pt x="10800017" y="4320000"/>
                </a:lnTo>
                <a:lnTo>
                  <a:pt x="10800017" y="3600001"/>
                </a:lnTo>
                <a:lnTo>
                  <a:pt x="11520004" y="3600001"/>
                </a:lnTo>
                <a:lnTo>
                  <a:pt x="11520004" y="4320000"/>
                </a:lnTo>
                <a:lnTo>
                  <a:pt x="12240000" y="4320000"/>
                </a:lnTo>
                <a:lnTo>
                  <a:pt x="12240000" y="5039995"/>
                </a:lnTo>
                <a:lnTo>
                  <a:pt x="12240000" y="5759938"/>
                </a:lnTo>
                <a:lnTo>
                  <a:pt x="11520004" y="5759938"/>
                </a:lnTo>
                <a:lnTo>
                  <a:pt x="11520004" y="5759935"/>
                </a:lnTo>
                <a:lnTo>
                  <a:pt x="10080030" y="5759935"/>
                </a:lnTo>
                <a:lnTo>
                  <a:pt x="10080030" y="5759938"/>
                </a:lnTo>
                <a:lnTo>
                  <a:pt x="9360027" y="5759938"/>
                </a:lnTo>
                <a:lnTo>
                  <a:pt x="9360027" y="5759935"/>
                </a:lnTo>
                <a:lnTo>
                  <a:pt x="7200014" y="5759935"/>
                </a:lnTo>
                <a:lnTo>
                  <a:pt x="7200014" y="5039995"/>
                </a:lnTo>
                <a:lnTo>
                  <a:pt x="7200014" y="4320008"/>
                </a:lnTo>
                <a:lnTo>
                  <a:pt x="7920017" y="4320008"/>
                </a:lnTo>
                <a:lnTo>
                  <a:pt x="7920017" y="5039995"/>
                </a:lnTo>
                <a:lnTo>
                  <a:pt x="8640012" y="5039995"/>
                </a:lnTo>
                <a:lnTo>
                  <a:pt x="8640012" y="4320008"/>
                </a:lnTo>
                <a:lnTo>
                  <a:pt x="7920017" y="4320008"/>
                </a:lnTo>
                <a:lnTo>
                  <a:pt x="7920017" y="4320000"/>
                </a:lnTo>
                <a:lnTo>
                  <a:pt x="7200014" y="4320000"/>
                </a:lnTo>
                <a:close/>
                <a:moveTo>
                  <a:pt x="16560003" y="2880014"/>
                </a:moveTo>
                <a:lnTo>
                  <a:pt x="17280001" y="2880014"/>
                </a:lnTo>
                <a:lnTo>
                  <a:pt x="17280001" y="3600001"/>
                </a:lnTo>
                <a:lnTo>
                  <a:pt x="16560003" y="3600001"/>
                </a:lnTo>
                <a:close/>
                <a:moveTo>
                  <a:pt x="5760016" y="2880014"/>
                </a:moveTo>
                <a:lnTo>
                  <a:pt x="6480020" y="2880014"/>
                </a:lnTo>
                <a:lnTo>
                  <a:pt x="6480020" y="5039995"/>
                </a:lnTo>
                <a:lnTo>
                  <a:pt x="5760016" y="5039995"/>
                </a:lnTo>
                <a:close/>
                <a:moveTo>
                  <a:pt x="14400003" y="2160000"/>
                </a:moveTo>
                <a:lnTo>
                  <a:pt x="15120001" y="2160000"/>
                </a:lnTo>
                <a:lnTo>
                  <a:pt x="15120001" y="2880014"/>
                </a:lnTo>
                <a:lnTo>
                  <a:pt x="15840003" y="2880014"/>
                </a:lnTo>
                <a:lnTo>
                  <a:pt x="15840003" y="3600001"/>
                </a:lnTo>
                <a:lnTo>
                  <a:pt x="15120001" y="3600001"/>
                </a:lnTo>
                <a:lnTo>
                  <a:pt x="15120001" y="3599998"/>
                </a:lnTo>
                <a:lnTo>
                  <a:pt x="14400003" y="3599998"/>
                </a:lnTo>
                <a:lnTo>
                  <a:pt x="14400003" y="2880014"/>
                </a:lnTo>
                <a:close/>
                <a:moveTo>
                  <a:pt x="9360034" y="2160000"/>
                </a:moveTo>
                <a:lnTo>
                  <a:pt x="10080030" y="2160000"/>
                </a:lnTo>
                <a:lnTo>
                  <a:pt x="10080030" y="2160002"/>
                </a:lnTo>
                <a:lnTo>
                  <a:pt x="10800017" y="2160002"/>
                </a:lnTo>
                <a:lnTo>
                  <a:pt x="10800017" y="2880014"/>
                </a:lnTo>
                <a:lnTo>
                  <a:pt x="11520004" y="2880014"/>
                </a:lnTo>
                <a:lnTo>
                  <a:pt x="11520004" y="3599998"/>
                </a:lnTo>
                <a:lnTo>
                  <a:pt x="10800017" y="3599998"/>
                </a:lnTo>
                <a:lnTo>
                  <a:pt x="10800017" y="3600001"/>
                </a:lnTo>
                <a:lnTo>
                  <a:pt x="10080030" y="3600001"/>
                </a:lnTo>
                <a:lnTo>
                  <a:pt x="10080030" y="3599998"/>
                </a:lnTo>
                <a:lnTo>
                  <a:pt x="9360034" y="3599998"/>
                </a:lnTo>
                <a:lnTo>
                  <a:pt x="9360034" y="2880014"/>
                </a:lnTo>
                <a:close/>
                <a:moveTo>
                  <a:pt x="20160003" y="1440008"/>
                </a:moveTo>
                <a:lnTo>
                  <a:pt x="22320003" y="1440008"/>
                </a:lnTo>
                <a:lnTo>
                  <a:pt x="22320003" y="3600003"/>
                </a:lnTo>
                <a:lnTo>
                  <a:pt x="20160003" y="3600003"/>
                </a:lnTo>
                <a:close/>
                <a:moveTo>
                  <a:pt x="11520004" y="1440008"/>
                </a:moveTo>
                <a:lnTo>
                  <a:pt x="12240000" y="1440008"/>
                </a:lnTo>
                <a:lnTo>
                  <a:pt x="12240000" y="2160002"/>
                </a:lnTo>
                <a:lnTo>
                  <a:pt x="11520004" y="2160002"/>
                </a:lnTo>
                <a:close/>
                <a:moveTo>
                  <a:pt x="10080030" y="1440008"/>
                </a:moveTo>
                <a:lnTo>
                  <a:pt x="10800017" y="1440008"/>
                </a:lnTo>
                <a:lnTo>
                  <a:pt x="10800017" y="2160000"/>
                </a:lnTo>
                <a:lnTo>
                  <a:pt x="10080030" y="2160000"/>
                </a:lnTo>
                <a:close/>
                <a:moveTo>
                  <a:pt x="1440076" y="1440008"/>
                </a:moveTo>
                <a:lnTo>
                  <a:pt x="3600086" y="1440008"/>
                </a:lnTo>
                <a:lnTo>
                  <a:pt x="3600086" y="3600003"/>
                </a:lnTo>
                <a:lnTo>
                  <a:pt x="1440076" y="3600003"/>
                </a:lnTo>
                <a:close/>
                <a:moveTo>
                  <a:pt x="4320094" y="719997"/>
                </a:moveTo>
                <a:lnTo>
                  <a:pt x="5040079" y="719997"/>
                </a:lnTo>
                <a:lnTo>
                  <a:pt x="5040079" y="4320014"/>
                </a:lnTo>
                <a:lnTo>
                  <a:pt x="5040071" y="4320014"/>
                </a:lnTo>
                <a:lnTo>
                  <a:pt x="5040071" y="4320000"/>
                </a:lnTo>
                <a:lnTo>
                  <a:pt x="4320094" y="4320000"/>
                </a:lnTo>
                <a:close/>
                <a:moveTo>
                  <a:pt x="18720001" y="719995"/>
                </a:moveTo>
                <a:lnTo>
                  <a:pt x="19440001" y="719995"/>
                </a:lnTo>
                <a:lnTo>
                  <a:pt x="19440001" y="4319997"/>
                </a:lnTo>
                <a:lnTo>
                  <a:pt x="18720001" y="4319997"/>
                </a:lnTo>
                <a:close/>
                <a:moveTo>
                  <a:pt x="73" y="719995"/>
                </a:moveTo>
                <a:lnTo>
                  <a:pt x="75" y="719995"/>
                </a:lnTo>
                <a:lnTo>
                  <a:pt x="75" y="719997"/>
                </a:lnTo>
                <a:lnTo>
                  <a:pt x="720072" y="719997"/>
                </a:lnTo>
                <a:lnTo>
                  <a:pt x="720072" y="4320000"/>
                </a:lnTo>
                <a:lnTo>
                  <a:pt x="73" y="4320000"/>
                </a:lnTo>
                <a:close/>
                <a:moveTo>
                  <a:pt x="23760001" y="719994"/>
                </a:moveTo>
                <a:lnTo>
                  <a:pt x="23760003" y="719994"/>
                </a:lnTo>
                <a:lnTo>
                  <a:pt x="23760003" y="4320014"/>
                </a:lnTo>
                <a:lnTo>
                  <a:pt x="23760001" y="4320014"/>
                </a:lnTo>
                <a:lnTo>
                  <a:pt x="23760001" y="4319997"/>
                </a:lnTo>
                <a:lnTo>
                  <a:pt x="23040003" y="4319997"/>
                </a:lnTo>
                <a:lnTo>
                  <a:pt x="23040003" y="719995"/>
                </a:lnTo>
                <a:lnTo>
                  <a:pt x="23760001" y="719995"/>
                </a:lnTo>
                <a:close/>
                <a:moveTo>
                  <a:pt x="12240002" y="719994"/>
                </a:moveTo>
                <a:lnTo>
                  <a:pt x="13680001" y="719994"/>
                </a:lnTo>
                <a:lnTo>
                  <a:pt x="13680001" y="719995"/>
                </a:lnTo>
                <a:lnTo>
                  <a:pt x="13680002" y="719995"/>
                </a:lnTo>
                <a:lnTo>
                  <a:pt x="13680002" y="1440008"/>
                </a:lnTo>
                <a:lnTo>
                  <a:pt x="13680001" y="1440008"/>
                </a:lnTo>
                <a:lnTo>
                  <a:pt x="13680001" y="3600003"/>
                </a:lnTo>
                <a:lnTo>
                  <a:pt x="12960001" y="3600003"/>
                </a:lnTo>
                <a:lnTo>
                  <a:pt x="12960001" y="4320000"/>
                </a:lnTo>
                <a:lnTo>
                  <a:pt x="12240002" y="4320000"/>
                </a:lnTo>
                <a:lnTo>
                  <a:pt x="12240002" y="3599998"/>
                </a:lnTo>
                <a:lnTo>
                  <a:pt x="12960001" y="3599998"/>
                </a:lnTo>
                <a:lnTo>
                  <a:pt x="12960001" y="1440008"/>
                </a:lnTo>
                <a:lnTo>
                  <a:pt x="12240002" y="1440008"/>
                </a:lnTo>
                <a:close/>
                <a:moveTo>
                  <a:pt x="13680001" y="1"/>
                </a:moveTo>
                <a:lnTo>
                  <a:pt x="15840001" y="1"/>
                </a:lnTo>
                <a:lnTo>
                  <a:pt x="15840001" y="719994"/>
                </a:lnTo>
                <a:lnTo>
                  <a:pt x="14400003" y="719994"/>
                </a:lnTo>
                <a:lnTo>
                  <a:pt x="14400003" y="719995"/>
                </a:lnTo>
                <a:lnTo>
                  <a:pt x="13680002" y="719995"/>
                </a:lnTo>
                <a:lnTo>
                  <a:pt x="13680002" y="719994"/>
                </a:lnTo>
                <a:lnTo>
                  <a:pt x="13680001" y="719994"/>
                </a:lnTo>
                <a:close/>
                <a:moveTo>
                  <a:pt x="10800017" y="1"/>
                </a:moveTo>
                <a:lnTo>
                  <a:pt x="11520004" y="1"/>
                </a:lnTo>
                <a:lnTo>
                  <a:pt x="11520004" y="1440008"/>
                </a:lnTo>
                <a:lnTo>
                  <a:pt x="10800017" y="1440008"/>
                </a:lnTo>
                <a:close/>
                <a:moveTo>
                  <a:pt x="7920020" y="1"/>
                </a:moveTo>
                <a:lnTo>
                  <a:pt x="8640014" y="1"/>
                </a:lnTo>
                <a:lnTo>
                  <a:pt x="8640014" y="3600009"/>
                </a:lnTo>
                <a:lnTo>
                  <a:pt x="8640012" y="3600009"/>
                </a:lnTo>
                <a:lnTo>
                  <a:pt x="8640012" y="3599998"/>
                </a:lnTo>
                <a:lnTo>
                  <a:pt x="7920020" y="3599998"/>
                </a:lnTo>
                <a:close/>
                <a:moveTo>
                  <a:pt x="5760016" y="1"/>
                </a:moveTo>
                <a:lnTo>
                  <a:pt x="6480024" y="1"/>
                </a:lnTo>
                <a:lnTo>
                  <a:pt x="6480024" y="719994"/>
                </a:lnTo>
                <a:lnTo>
                  <a:pt x="7200014" y="719994"/>
                </a:lnTo>
                <a:lnTo>
                  <a:pt x="7200014" y="2160002"/>
                </a:lnTo>
                <a:lnTo>
                  <a:pt x="6480024" y="2160002"/>
                </a:lnTo>
                <a:lnTo>
                  <a:pt x="6480024" y="719997"/>
                </a:lnTo>
                <a:lnTo>
                  <a:pt x="5760016" y="719997"/>
                </a:lnTo>
                <a:close/>
                <a:moveTo>
                  <a:pt x="75" y="1"/>
                </a:moveTo>
                <a:lnTo>
                  <a:pt x="5040079" y="1"/>
                </a:lnTo>
                <a:lnTo>
                  <a:pt x="5040079" y="719995"/>
                </a:lnTo>
                <a:lnTo>
                  <a:pt x="4320094" y="719995"/>
                </a:lnTo>
                <a:lnTo>
                  <a:pt x="4320094" y="719997"/>
                </a:lnTo>
                <a:lnTo>
                  <a:pt x="720072" y="719997"/>
                </a:lnTo>
                <a:lnTo>
                  <a:pt x="720072" y="719995"/>
                </a:lnTo>
                <a:lnTo>
                  <a:pt x="75" y="719995"/>
                </a:lnTo>
                <a:close/>
                <a:moveTo>
                  <a:pt x="18720001" y="0"/>
                </a:moveTo>
                <a:lnTo>
                  <a:pt x="23760001" y="0"/>
                </a:lnTo>
                <a:lnTo>
                  <a:pt x="23760001" y="719994"/>
                </a:lnTo>
                <a:lnTo>
                  <a:pt x="23040003" y="719994"/>
                </a:lnTo>
                <a:lnTo>
                  <a:pt x="23040003" y="719995"/>
                </a:lnTo>
                <a:lnTo>
                  <a:pt x="19440001" y="719995"/>
                </a:lnTo>
                <a:lnTo>
                  <a:pt x="19440001" y="719994"/>
                </a:lnTo>
                <a:lnTo>
                  <a:pt x="18720001" y="719994"/>
                </a:lnTo>
                <a:close/>
                <a:moveTo>
                  <a:pt x="16560003" y="0"/>
                </a:moveTo>
                <a:lnTo>
                  <a:pt x="17280001" y="0"/>
                </a:lnTo>
                <a:lnTo>
                  <a:pt x="17280001" y="719995"/>
                </a:lnTo>
                <a:lnTo>
                  <a:pt x="16560003" y="719995"/>
                </a:lnTo>
                <a:lnTo>
                  <a:pt x="16560003" y="1440008"/>
                </a:lnTo>
                <a:lnTo>
                  <a:pt x="16560003" y="2160000"/>
                </a:lnTo>
                <a:lnTo>
                  <a:pt x="16560003" y="2880014"/>
                </a:lnTo>
                <a:lnTo>
                  <a:pt x="15840003" y="2880014"/>
                </a:lnTo>
                <a:lnTo>
                  <a:pt x="15840003" y="2160000"/>
                </a:lnTo>
                <a:lnTo>
                  <a:pt x="15120001" y="2160000"/>
                </a:lnTo>
                <a:lnTo>
                  <a:pt x="15120001" y="1440008"/>
                </a:lnTo>
                <a:lnTo>
                  <a:pt x="14400003" y="1440008"/>
                </a:lnTo>
                <a:lnTo>
                  <a:pt x="14400003" y="719995"/>
                </a:lnTo>
                <a:lnTo>
                  <a:pt x="15840001" y="719995"/>
                </a:lnTo>
                <a:lnTo>
                  <a:pt x="15840001" y="719994"/>
                </a:lnTo>
                <a:lnTo>
                  <a:pt x="16560003" y="719994"/>
                </a:lnTo>
                <a:close/>
              </a:path>
            </a:pathLst>
          </a:custGeom>
          <a:solidFill>
            <a:srgbClr val="001A54"/>
          </a:solidFill>
          <a:ln w="635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600"/>
              </a:spcBef>
            </a:pPr>
            <a:endParaRPr lang="en-US" sz="1000" dirty="0" err="1">
              <a:solidFill>
                <a:srgbClr val="FFFFFF"/>
              </a:solidFill>
              <a:latin typeface="Segoe UI" panose="020B0502040204020203" pitchFamily="34" charset="0"/>
              <a:cs typeface="Arial" panose="020B0604020202020204" pitchFamily="34" charset="0"/>
            </a:endParaRPr>
          </a:p>
        </p:txBody>
      </p:sp>
      <p:sp>
        <p:nvSpPr>
          <p:cNvPr id="7" name="TextBox 6">
            <a:extLst>
              <a:ext uri="{FF2B5EF4-FFF2-40B4-BE49-F238E27FC236}">
                <a16:creationId xmlns:a16="http://schemas.microsoft.com/office/drawing/2014/main" id="{21BDE0A9-4098-18A1-0928-576DF5279B7C}"/>
              </a:ext>
            </a:extLst>
          </p:cNvPr>
          <p:cNvSpPr txBox="1"/>
          <p:nvPr/>
        </p:nvSpPr>
        <p:spPr>
          <a:xfrm>
            <a:off x="8460544" y="-21447"/>
            <a:ext cx="3061990" cy="352341"/>
          </a:xfrm>
          <a:prstGeom prst="rect">
            <a:avLst/>
          </a:prstGeom>
          <a:noFill/>
        </p:spPr>
        <p:txBody>
          <a:bodyPr wrap="square" lIns="0" tIns="0" rIns="0" bIns="0" numCol="1" rtlCol="0">
            <a:spAutoFit/>
          </a:bodyPr>
          <a:lstStyle/>
          <a:p>
            <a:pPr>
              <a:lnSpc>
                <a:spcPct val="120000"/>
              </a:lnSpc>
            </a:pPr>
            <a:r>
              <a:rPr lang="en-US" sz="1000" dirty="0"/>
              <a:t>NIST: National Institute of Standards and Technology</a:t>
            </a:r>
          </a:p>
          <a:p>
            <a:pPr>
              <a:lnSpc>
                <a:spcPct val="120000"/>
              </a:lnSpc>
            </a:pPr>
            <a:r>
              <a:rPr lang="en-US" sz="1000" dirty="0"/>
              <a:t>PQC: Post-Quantum Cryptography </a:t>
            </a:r>
          </a:p>
        </p:txBody>
      </p:sp>
      <p:sp>
        <p:nvSpPr>
          <p:cNvPr id="3" name="Footer Placeholder 2">
            <a:extLst>
              <a:ext uri="{FF2B5EF4-FFF2-40B4-BE49-F238E27FC236}">
                <a16:creationId xmlns:a16="http://schemas.microsoft.com/office/drawing/2014/main" id="{4DEC2560-A938-5285-9794-021232137BBB}"/>
              </a:ext>
            </a:extLst>
          </p:cNvPr>
          <p:cNvSpPr>
            <a:spLocks noGrp="1"/>
          </p:cNvSpPr>
          <p:nvPr>
            <p:ph type="ftr" sz="quarter" idx="10"/>
          </p:nvPr>
        </p:nvSpPr>
        <p:spPr>
          <a:xfrm>
            <a:off x="972123" y="6048375"/>
            <a:ext cx="4608513" cy="179364"/>
          </a:xfrm>
        </p:spPr>
        <p:txBody>
          <a:bodyPr/>
          <a:lstStyle/>
          <a:p>
            <a:r>
              <a:rPr lang="en-US" dirty="0"/>
              <a:t>IAV  05/2025  IAVJ  DKO  Status: draft, confidential</a:t>
            </a:r>
          </a:p>
        </p:txBody>
      </p:sp>
    </p:spTree>
    <p:extLst>
      <p:ext uri="{BB962C8B-B14F-4D97-AF65-F5344CB8AC3E}">
        <p14:creationId xmlns:p14="http://schemas.microsoft.com/office/powerpoint/2010/main" val="211583169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5DE0A8-8073-B1FE-96EF-FDEB3E7DA527}"/>
            </a:ext>
          </a:extLst>
        </p:cNvPr>
        <p:cNvGrpSpPr/>
        <p:nvPr/>
      </p:nvGrpSpPr>
      <p:grpSpPr>
        <a:xfrm>
          <a:off x="0" y="0"/>
          <a:ext cx="0" cy="0"/>
          <a:chOff x="0" y="0"/>
          <a:chExt cx="0" cy="0"/>
        </a:xfrm>
      </p:grpSpPr>
      <p:sp>
        <p:nvSpPr>
          <p:cNvPr id="9" name="Titel 8">
            <a:extLst>
              <a:ext uri="{FF2B5EF4-FFF2-40B4-BE49-F238E27FC236}">
                <a16:creationId xmlns:a16="http://schemas.microsoft.com/office/drawing/2014/main" id="{AAC6B498-F09C-361E-8C1A-8011A1C1D8F0}"/>
              </a:ext>
            </a:extLst>
          </p:cNvPr>
          <p:cNvSpPr>
            <a:spLocks noGrp="1"/>
          </p:cNvSpPr>
          <p:nvPr>
            <p:ph type="title"/>
          </p:nvPr>
        </p:nvSpPr>
        <p:spPr>
          <a:xfrm>
            <a:off x="539750" y="359767"/>
            <a:ext cx="10440988" cy="720113"/>
          </a:xfrm>
        </p:spPr>
        <p:txBody>
          <a:bodyPr/>
          <a:lstStyle/>
          <a:p>
            <a:r>
              <a:rPr lang="en-US" dirty="0">
                <a:solidFill>
                  <a:srgbClr val="A200E6"/>
                </a:solidFill>
              </a:rPr>
              <a:t>Crypto Agility - Firmware Security Module</a:t>
            </a:r>
            <a:br>
              <a:rPr lang="en-US" dirty="0"/>
            </a:br>
            <a:r>
              <a:rPr lang="en-US" dirty="0"/>
              <a:t>Securable, scalable and updatable Trusted Execution Environment</a:t>
            </a:r>
          </a:p>
        </p:txBody>
      </p:sp>
      <p:sp>
        <p:nvSpPr>
          <p:cNvPr id="4" name="Foliennummernplatzhalter 3">
            <a:extLst>
              <a:ext uri="{FF2B5EF4-FFF2-40B4-BE49-F238E27FC236}">
                <a16:creationId xmlns:a16="http://schemas.microsoft.com/office/drawing/2014/main" id="{F425EB33-0B71-2602-FD73-17FD753DF798}"/>
              </a:ext>
            </a:extLst>
          </p:cNvPr>
          <p:cNvSpPr>
            <a:spLocks noGrp="1"/>
          </p:cNvSpPr>
          <p:nvPr>
            <p:ph type="sldNum" sz="quarter" idx="11"/>
          </p:nvPr>
        </p:nvSpPr>
        <p:spPr/>
        <p:txBody>
          <a:bodyPr/>
          <a:lstStyle/>
          <a:p>
            <a:fld id="{C651C7C4-31E4-E340-822E-DEA0EA75A835}" type="slidenum">
              <a:rPr lang="en-US" smtClean="0"/>
              <a:pPr/>
              <a:t>23</a:t>
            </a:fld>
            <a:endParaRPr lang="en-US" dirty="0"/>
          </a:p>
        </p:txBody>
      </p:sp>
      <p:sp>
        <p:nvSpPr>
          <p:cNvPr id="12" name="Textplatzhalter 11">
            <a:extLst>
              <a:ext uri="{FF2B5EF4-FFF2-40B4-BE49-F238E27FC236}">
                <a16:creationId xmlns:a16="http://schemas.microsoft.com/office/drawing/2014/main" id="{97D2E34B-CD1F-798F-0AB1-B268DD2DC0FA}"/>
              </a:ext>
            </a:extLst>
          </p:cNvPr>
          <p:cNvSpPr>
            <a:spLocks noGrp="1"/>
          </p:cNvSpPr>
          <p:nvPr>
            <p:ph type="body" sz="quarter" idx="14"/>
          </p:nvPr>
        </p:nvSpPr>
        <p:spPr>
          <a:xfrm>
            <a:off x="7740376" y="1295400"/>
            <a:ext cx="3420467" cy="3719480"/>
          </a:xfrm>
        </p:spPr>
        <p:txBody>
          <a:bodyPr/>
          <a:lstStyle/>
          <a:p>
            <a:r>
              <a:rPr lang="en-US" sz="1800" b="1" dirty="0"/>
              <a:t>Full support of all necessary security functionalities</a:t>
            </a:r>
          </a:p>
          <a:p>
            <a:pPr lvl="1"/>
            <a:r>
              <a:rPr lang="en-US" dirty="0"/>
              <a:t>Secure Boot and Secure Update</a:t>
            </a:r>
          </a:p>
          <a:p>
            <a:pPr lvl="1"/>
            <a:r>
              <a:rPr lang="en-US" dirty="0"/>
              <a:t>Secure Logging</a:t>
            </a:r>
          </a:p>
          <a:p>
            <a:pPr lvl="1"/>
            <a:r>
              <a:rPr lang="en-US" dirty="0"/>
              <a:t>Intrusion Handling</a:t>
            </a:r>
          </a:p>
          <a:p>
            <a:pPr lvl="1"/>
            <a:r>
              <a:rPr lang="en-US" dirty="0"/>
              <a:t>Cryptographic Algorithm</a:t>
            </a:r>
          </a:p>
          <a:p>
            <a:pPr lvl="2"/>
            <a:r>
              <a:rPr lang="en-US" dirty="0"/>
              <a:t>Including Post-Quantum Cryptography (PQC)</a:t>
            </a:r>
          </a:p>
          <a:p>
            <a:pPr lvl="1"/>
            <a:r>
              <a:rPr lang="en-US" dirty="0"/>
              <a:t>Secure Key Management</a:t>
            </a:r>
          </a:p>
          <a:p>
            <a:pPr lvl="1"/>
            <a:r>
              <a:rPr lang="en-US" dirty="0"/>
              <a:t>etc.</a:t>
            </a:r>
          </a:p>
        </p:txBody>
      </p:sp>
      <p:pic>
        <p:nvPicPr>
          <p:cNvPr id="5" name="Grafik 4">
            <a:extLst>
              <a:ext uri="{FF2B5EF4-FFF2-40B4-BE49-F238E27FC236}">
                <a16:creationId xmlns:a16="http://schemas.microsoft.com/office/drawing/2014/main" id="{20FF61BC-0E44-1506-0B9B-4123EFFA52A7}"/>
              </a:ext>
            </a:extLst>
          </p:cNvPr>
          <p:cNvPicPr>
            <a:picLocks noChangeAspect="1"/>
          </p:cNvPicPr>
          <p:nvPr/>
        </p:nvPicPr>
        <p:blipFill>
          <a:blip r:embed="rId9"/>
          <a:stretch>
            <a:fillRect/>
          </a:stretch>
        </p:blipFill>
        <p:spPr>
          <a:xfrm>
            <a:off x="558000" y="1306800"/>
            <a:ext cx="7075060" cy="4521600"/>
          </a:xfrm>
          <a:prstGeom prst="rect">
            <a:avLst/>
          </a:prstGeom>
        </p:spPr>
      </p:pic>
      <p:grpSp>
        <p:nvGrpSpPr>
          <p:cNvPr id="6" name="easyIcon">
            <a:extLst>
              <a:ext uri="{FF2B5EF4-FFF2-40B4-BE49-F238E27FC236}">
                <a16:creationId xmlns:a16="http://schemas.microsoft.com/office/drawing/2014/main" id="{991C0D22-4B16-C664-E44D-88B3C3B19545}"/>
              </a:ext>
            </a:extLst>
          </p:cNvPr>
          <p:cNvGrpSpPr>
            <a:grpSpLocks noChangeAspect="1"/>
          </p:cNvGrpSpPr>
          <p:nvPr>
            <p:custDataLst>
              <p:tags r:id="rId1"/>
            </p:custDataLst>
          </p:nvPr>
        </p:nvGrpSpPr>
        <p:grpSpPr>
          <a:xfrm>
            <a:off x="8028496" y="5184775"/>
            <a:ext cx="720000" cy="720000"/>
            <a:chOff x="669861" y="2232479"/>
            <a:chExt cx="720000" cy="720000"/>
          </a:xfrm>
        </p:grpSpPr>
        <p:sp>
          <p:nvSpPr>
            <p:cNvPr id="7" name="backgroundFixed">
              <a:extLst>
                <a:ext uri="{FF2B5EF4-FFF2-40B4-BE49-F238E27FC236}">
                  <a16:creationId xmlns:a16="http://schemas.microsoft.com/office/drawing/2014/main" id="{BD5582AE-BB9F-F041-F972-13A33C6B6553}"/>
                </a:ext>
              </a:extLst>
            </p:cNvPr>
            <p:cNvSpPr/>
            <p:nvPr>
              <p:custDataLst>
                <p:tags r:id="rId6"/>
              </p:custDataLst>
            </p:nvPr>
          </p:nvSpPr>
          <p:spPr>
            <a:xfrm>
              <a:off x="669861" y="2232479"/>
              <a:ext cx="720000" cy="720000"/>
            </a:xfrm>
            <a:prstGeom prst="ellipse">
              <a:avLst/>
            </a:prstGeom>
            <a:solidFill>
              <a:srgbClr val="A200E6"/>
            </a:solidFill>
            <a:ln w="6350" cap="flat" cmpd="sng" algn="ctr">
              <a:noFill/>
              <a:prstDash val="solid"/>
              <a:round/>
              <a:headEnd type="none" w="med" len="med"/>
              <a:tailEnd type="none" w="med" len="med"/>
            </a:ln>
            <a:effectLst/>
            <a:extLst>
              <a:ext uri="{91240B29-F687-4F45-9708-019B960494DF}">
                <a14:hiddenLine xmlns:a14="http://schemas.microsoft.com/office/drawing/2010/main" w="6350" cap="flat" cmpd="sng" algn="ctr">
                  <a:solidFill>
                    <a:srgbClr val="52C9F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108000" numCol="1" spcCol="0" rtlCol="0" fromWordArt="0" anchor="t" anchorCtr="0" forceAA="0" compatLnSpc="1">
              <a:prstTxWarp prst="textNoShape">
                <a:avLst/>
              </a:prstTxWarp>
              <a:noAutofit/>
            </a:bodyPr>
            <a:lstStyle/>
            <a:p>
              <a:pPr algn="l"/>
              <a:endParaRPr lang="en-US" sz="1400" b="1" dirty="0">
                <a:solidFill>
                  <a:schemeClr val="bg1"/>
                </a:solidFill>
              </a:endParaRPr>
            </a:p>
          </p:txBody>
        </p:sp>
        <p:pic>
          <p:nvPicPr>
            <p:cNvPr id="8" name="Vector">
              <a:extLst>
                <a:ext uri="{FF2B5EF4-FFF2-40B4-BE49-F238E27FC236}">
                  <a16:creationId xmlns:a16="http://schemas.microsoft.com/office/drawing/2014/main" id="{EFDA93CC-E98B-3CC1-AB14-158B8474F637}"/>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bwMode="gray">
            <a:xfrm>
              <a:off x="669861" y="2232479"/>
              <a:ext cx="720000" cy="720000"/>
            </a:xfrm>
            <a:prstGeom prst="rect">
              <a:avLst/>
            </a:prstGeom>
          </p:spPr>
        </p:pic>
      </p:grpSp>
      <p:grpSp>
        <p:nvGrpSpPr>
          <p:cNvPr id="10" name="easyIcon">
            <a:extLst>
              <a:ext uri="{FF2B5EF4-FFF2-40B4-BE49-F238E27FC236}">
                <a16:creationId xmlns:a16="http://schemas.microsoft.com/office/drawing/2014/main" id="{66FFF609-7D7F-49ED-D9EA-2461F6EC3A62}"/>
              </a:ext>
            </a:extLst>
          </p:cNvPr>
          <p:cNvGrpSpPr>
            <a:grpSpLocks noChangeAspect="1"/>
          </p:cNvGrpSpPr>
          <p:nvPr>
            <p:custDataLst>
              <p:tags r:id="rId2"/>
            </p:custDataLst>
          </p:nvPr>
        </p:nvGrpSpPr>
        <p:grpSpPr>
          <a:xfrm>
            <a:off x="8946593" y="5152326"/>
            <a:ext cx="720000" cy="720000"/>
            <a:chOff x="5598244" y="3078087"/>
            <a:chExt cx="1524000" cy="1524000"/>
          </a:xfrm>
        </p:grpSpPr>
        <p:sp>
          <p:nvSpPr>
            <p:cNvPr id="11" name="backgroundFixed">
              <a:extLst>
                <a:ext uri="{FF2B5EF4-FFF2-40B4-BE49-F238E27FC236}">
                  <a16:creationId xmlns:a16="http://schemas.microsoft.com/office/drawing/2014/main" id="{12E76D8A-4B66-A220-C1D5-45906953473F}"/>
                </a:ext>
              </a:extLst>
            </p:cNvPr>
            <p:cNvSpPr/>
            <p:nvPr>
              <p:custDataLst>
                <p:tags r:id="rId5"/>
              </p:custDataLst>
            </p:nvPr>
          </p:nvSpPr>
          <p:spPr>
            <a:xfrm>
              <a:off x="5598244" y="3078087"/>
              <a:ext cx="1524000" cy="1524000"/>
            </a:xfrm>
            <a:prstGeom prst="ellipse">
              <a:avLst/>
            </a:prstGeom>
            <a:solidFill>
              <a:srgbClr val="A200E6"/>
            </a:solidFill>
            <a:ln w="6350" cap="flat" cmpd="sng" algn="ctr">
              <a:noFill/>
              <a:prstDash val="solid"/>
              <a:round/>
              <a:headEnd type="none" w="med" len="med"/>
              <a:tailEnd type="none" w="med" len="med"/>
            </a:ln>
            <a:effectLst/>
            <a:extLst>
              <a:ext uri="{91240B29-F687-4F45-9708-019B960494DF}">
                <a14:hiddenLine xmlns:a14="http://schemas.microsoft.com/office/drawing/2010/main" w="6350" cap="flat" cmpd="sng" algn="ctr">
                  <a:solidFill>
                    <a:srgbClr val="52C9F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108000" numCol="1" spcCol="0" rtlCol="0" fromWordArt="0" anchor="t" anchorCtr="0" forceAA="0" compatLnSpc="1">
              <a:prstTxWarp prst="textNoShape">
                <a:avLst/>
              </a:prstTxWarp>
              <a:noAutofit/>
            </a:bodyPr>
            <a:lstStyle/>
            <a:p>
              <a:pPr algn="l"/>
              <a:endParaRPr lang="en-US" sz="1400" b="1" dirty="0">
                <a:solidFill>
                  <a:schemeClr val="bg1"/>
                </a:solidFill>
              </a:endParaRPr>
            </a:p>
          </p:txBody>
        </p:sp>
        <p:pic>
          <p:nvPicPr>
            <p:cNvPr id="13" name="Vector">
              <a:extLst>
                <a:ext uri="{FF2B5EF4-FFF2-40B4-BE49-F238E27FC236}">
                  <a16:creationId xmlns:a16="http://schemas.microsoft.com/office/drawing/2014/main" id="{C16C9E74-04F6-6DF5-B77F-9D2F951AC6A1}"/>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bwMode="gray">
            <a:xfrm>
              <a:off x="5598244" y="3078087"/>
              <a:ext cx="1524000" cy="1524000"/>
            </a:xfrm>
            <a:prstGeom prst="rect">
              <a:avLst/>
            </a:prstGeom>
          </p:spPr>
        </p:pic>
      </p:grpSp>
      <p:grpSp>
        <p:nvGrpSpPr>
          <p:cNvPr id="14" name="easyIcon">
            <a:extLst>
              <a:ext uri="{FF2B5EF4-FFF2-40B4-BE49-F238E27FC236}">
                <a16:creationId xmlns:a16="http://schemas.microsoft.com/office/drawing/2014/main" id="{0EACCDDA-5286-0B55-AB04-9277A8863369}"/>
              </a:ext>
            </a:extLst>
          </p:cNvPr>
          <p:cNvGrpSpPr>
            <a:grpSpLocks noChangeAspect="1"/>
          </p:cNvGrpSpPr>
          <p:nvPr>
            <p:custDataLst>
              <p:tags r:id="rId3"/>
            </p:custDataLst>
          </p:nvPr>
        </p:nvGrpSpPr>
        <p:grpSpPr>
          <a:xfrm>
            <a:off x="9864690" y="5152326"/>
            <a:ext cx="720000" cy="720000"/>
            <a:chOff x="4998244" y="2478087"/>
            <a:chExt cx="1524000" cy="1524000"/>
          </a:xfrm>
        </p:grpSpPr>
        <p:sp>
          <p:nvSpPr>
            <p:cNvPr id="15" name="backgroundFixed">
              <a:extLst>
                <a:ext uri="{FF2B5EF4-FFF2-40B4-BE49-F238E27FC236}">
                  <a16:creationId xmlns:a16="http://schemas.microsoft.com/office/drawing/2014/main" id="{C028FD90-B6B7-C1AA-CA33-A3BA6DF06ECE}"/>
                </a:ext>
              </a:extLst>
            </p:cNvPr>
            <p:cNvSpPr/>
            <p:nvPr>
              <p:custDataLst>
                <p:tags r:id="rId4"/>
              </p:custDataLst>
            </p:nvPr>
          </p:nvSpPr>
          <p:spPr>
            <a:xfrm>
              <a:off x="4998244" y="2478087"/>
              <a:ext cx="1524000" cy="1524000"/>
            </a:xfrm>
            <a:prstGeom prst="ellipse">
              <a:avLst/>
            </a:prstGeom>
            <a:solidFill>
              <a:srgbClr val="A200E6"/>
            </a:solidFill>
            <a:ln w="12700" cap="flat" cmpd="sng" algn="ctr">
              <a:noFill/>
              <a:prstDash val="solid"/>
              <a:miter lim="800000"/>
            </a:ln>
            <a:effectLst/>
            <a:extLst>
              <a:ext uri="{91240B29-F687-4F45-9708-019B960494DF}">
                <a14:hiddenLine xmlns:a14="http://schemas.microsoft.com/office/drawing/2010/main" w="12700" cap="flat" cmpd="sng" algn="ctr">
                  <a:solidFill>
                    <a:prstClr val="black"/>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108000" numCol="1" spcCol="0" rtlCol="0" fromWordArt="0" anchor="t" anchorCtr="0" forceAA="0" compatLnSpc="1">
              <a:prstTxWarp prst="textNoShape">
                <a:avLst/>
              </a:prstTxWarp>
              <a:noAutofit/>
            </a:bodyPr>
            <a:lstStyle/>
            <a:p>
              <a:pPr algn="l"/>
              <a:endParaRPr lang="en-US" sz="1400" b="1" dirty="0">
                <a:solidFill>
                  <a:schemeClr val="bg1"/>
                </a:solidFill>
              </a:endParaRPr>
            </a:p>
          </p:txBody>
        </p:sp>
        <p:pic>
          <p:nvPicPr>
            <p:cNvPr id="16" name="Vector">
              <a:extLst>
                <a:ext uri="{FF2B5EF4-FFF2-40B4-BE49-F238E27FC236}">
                  <a16:creationId xmlns:a16="http://schemas.microsoft.com/office/drawing/2014/main" id="{34EBA315-709E-3224-C88B-80A0DD88C875}"/>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bwMode="gray">
            <a:xfrm>
              <a:off x="4998244" y="2478087"/>
              <a:ext cx="1524000" cy="1524000"/>
            </a:xfrm>
            <a:prstGeom prst="rect">
              <a:avLst/>
            </a:prstGeom>
          </p:spPr>
        </p:pic>
      </p:grpSp>
      <p:sp>
        <p:nvSpPr>
          <p:cNvPr id="17" name="TextBox 16">
            <a:extLst>
              <a:ext uri="{FF2B5EF4-FFF2-40B4-BE49-F238E27FC236}">
                <a16:creationId xmlns:a16="http://schemas.microsoft.com/office/drawing/2014/main" id="{2EA17F5A-5D6A-EB0B-E9F2-2A04949300D2}"/>
              </a:ext>
            </a:extLst>
          </p:cNvPr>
          <p:cNvSpPr txBox="1"/>
          <p:nvPr/>
        </p:nvSpPr>
        <p:spPr>
          <a:xfrm>
            <a:off x="8675936" y="-21447"/>
            <a:ext cx="2846598" cy="167675"/>
          </a:xfrm>
          <a:prstGeom prst="rect">
            <a:avLst/>
          </a:prstGeom>
          <a:noFill/>
        </p:spPr>
        <p:txBody>
          <a:bodyPr wrap="square" lIns="0" tIns="0" rIns="0" bIns="0" numCol="1" rtlCol="0">
            <a:spAutoFit/>
          </a:bodyPr>
          <a:lstStyle/>
          <a:p>
            <a:pPr>
              <a:lnSpc>
                <a:spcPct val="120000"/>
              </a:lnSpc>
            </a:pPr>
            <a:r>
              <a:rPr lang="en-US" sz="1000" dirty="0"/>
              <a:t>PQC: Post-Quantum Cryptography </a:t>
            </a:r>
          </a:p>
        </p:txBody>
      </p:sp>
      <p:sp>
        <p:nvSpPr>
          <p:cNvPr id="18" name="Footer Placeholder 2">
            <a:extLst>
              <a:ext uri="{FF2B5EF4-FFF2-40B4-BE49-F238E27FC236}">
                <a16:creationId xmlns:a16="http://schemas.microsoft.com/office/drawing/2014/main" id="{F56E5618-E225-2E5D-C235-A431E4BCCB42}"/>
              </a:ext>
            </a:extLst>
          </p:cNvPr>
          <p:cNvSpPr>
            <a:spLocks noGrp="1"/>
          </p:cNvSpPr>
          <p:nvPr>
            <p:ph type="ftr" sz="quarter" idx="10"/>
          </p:nvPr>
        </p:nvSpPr>
        <p:spPr>
          <a:xfrm>
            <a:off x="972123" y="6048375"/>
            <a:ext cx="4608513" cy="179364"/>
          </a:xfrm>
        </p:spPr>
        <p:txBody>
          <a:bodyPr/>
          <a:lstStyle/>
          <a:p>
            <a:r>
              <a:rPr lang="en-US" dirty="0"/>
              <a:t>IAV  05/2025  IAVJ  DKO  Status: draft, confidential</a:t>
            </a:r>
          </a:p>
        </p:txBody>
      </p:sp>
    </p:spTree>
    <p:extLst>
      <p:ext uri="{BB962C8B-B14F-4D97-AF65-F5344CB8AC3E}">
        <p14:creationId xmlns:p14="http://schemas.microsoft.com/office/powerpoint/2010/main" val="76153138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84CFB9-9F3D-F09B-1947-C13D4D9C6328}"/>
            </a:ext>
          </a:extLst>
        </p:cNvPr>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6030C558-AC88-FF24-A0AD-5C47877AC44F}"/>
              </a:ext>
            </a:extLst>
          </p:cNvPr>
          <p:cNvSpPr>
            <a:spLocks noGrp="1"/>
          </p:cNvSpPr>
          <p:nvPr>
            <p:ph type="sldNum" sz="quarter" idx="11"/>
          </p:nvPr>
        </p:nvSpPr>
        <p:spPr/>
        <p:txBody>
          <a:bodyPr/>
          <a:lstStyle/>
          <a:p>
            <a:fld id="{C651C7C4-31E4-E340-822E-DEA0EA75A835}" type="slidenum">
              <a:rPr lang="en-US" smtClean="0"/>
              <a:pPr/>
              <a:t>24</a:t>
            </a:fld>
            <a:endParaRPr lang="en-US" dirty="0"/>
          </a:p>
        </p:txBody>
      </p:sp>
      <p:sp>
        <p:nvSpPr>
          <p:cNvPr id="11" name="Textplatzhalter 10">
            <a:extLst>
              <a:ext uri="{FF2B5EF4-FFF2-40B4-BE49-F238E27FC236}">
                <a16:creationId xmlns:a16="http://schemas.microsoft.com/office/drawing/2014/main" id="{EEB5B7F7-ACD6-7B89-D689-4869300A4B07}"/>
              </a:ext>
            </a:extLst>
          </p:cNvPr>
          <p:cNvSpPr>
            <a:spLocks noGrp="1"/>
          </p:cNvSpPr>
          <p:nvPr>
            <p:ph type="body" sz="quarter" idx="14"/>
          </p:nvPr>
        </p:nvSpPr>
        <p:spPr>
          <a:xfrm>
            <a:off x="7740376" y="1295399"/>
            <a:ext cx="3240362" cy="4347344"/>
          </a:xfrm>
        </p:spPr>
        <p:txBody>
          <a:bodyPr/>
          <a:lstStyle/>
          <a:p>
            <a:r>
              <a:rPr lang="en-US" sz="1800" b="1" dirty="0"/>
              <a:t>Integration approaches</a:t>
            </a:r>
          </a:p>
          <a:p>
            <a:pPr lvl="1"/>
            <a:r>
              <a:rPr lang="en-US" dirty="0"/>
              <a:t>Hardware Security Module (HSM)</a:t>
            </a:r>
          </a:p>
          <a:p>
            <a:pPr lvl="1"/>
            <a:r>
              <a:rPr lang="en-US" dirty="0"/>
              <a:t>Isolated Main Cores</a:t>
            </a:r>
          </a:p>
          <a:p>
            <a:pPr lvl="1"/>
            <a:r>
              <a:rPr lang="en-US" dirty="0"/>
              <a:t>Isolated Virtual Machines (VM)</a:t>
            </a:r>
            <a:br>
              <a:rPr lang="en-US" dirty="0"/>
            </a:br>
            <a:endParaRPr lang="en-US" dirty="0"/>
          </a:p>
          <a:p>
            <a:r>
              <a:rPr lang="en-US" sz="1800" b="1" dirty="0"/>
              <a:t>Combination of approaches possible</a:t>
            </a:r>
          </a:p>
          <a:p>
            <a:pPr lvl="1"/>
            <a:r>
              <a:rPr lang="en-US" dirty="0"/>
              <a:t>Adaptable for different system designs</a:t>
            </a:r>
          </a:p>
          <a:p>
            <a:pPr lvl="1"/>
            <a:r>
              <a:rPr lang="en-US" dirty="0"/>
              <a:t>Flexible for future extensions</a:t>
            </a:r>
          </a:p>
          <a:p>
            <a:pPr lvl="1"/>
            <a:endParaRPr lang="en-US" dirty="0"/>
          </a:p>
        </p:txBody>
      </p:sp>
      <p:pic>
        <p:nvPicPr>
          <p:cNvPr id="6" name="Grafik 5">
            <a:extLst>
              <a:ext uri="{FF2B5EF4-FFF2-40B4-BE49-F238E27FC236}">
                <a16:creationId xmlns:a16="http://schemas.microsoft.com/office/drawing/2014/main" id="{FF0A3EDC-BFF8-174C-337C-F9691CCEC30D}"/>
              </a:ext>
            </a:extLst>
          </p:cNvPr>
          <p:cNvPicPr>
            <a:picLocks noChangeAspect="1"/>
          </p:cNvPicPr>
          <p:nvPr/>
        </p:nvPicPr>
        <p:blipFill>
          <a:blip r:embed="rId3"/>
          <a:stretch>
            <a:fillRect/>
          </a:stretch>
        </p:blipFill>
        <p:spPr>
          <a:xfrm>
            <a:off x="438010" y="1655911"/>
            <a:ext cx="7122434" cy="3744416"/>
          </a:xfrm>
          <a:prstGeom prst="rect">
            <a:avLst/>
          </a:prstGeom>
        </p:spPr>
      </p:pic>
      <p:sp>
        <p:nvSpPr>
          <p:cNvPr id="7" name="Titel 8">
            <a:extLst>
              <a:ext uri="{FF2B5EF4-FFF2-40B4-BE49-F238E27FC236}">
                <a16:creationId xmlns:a16="http://schemas.microsoft.com/office/drawing/2014/main" id="{60ADAB22-E488-E761-D485-BFF7936BD2E7}"/>
              </a:ext>
            </a:extLst>
          </p:cNvPr>
          <p:cNvSpPr>
            <a:spLocks noGrp="1"/>
          </p:cNvSpPr>
          <p:nvPr>
            <p:ph type="title"/>
          </p:nvPr>
        </p:nvSpPr>
        <p:spPr>
          <a:xfrm>
            <a:off x="539750" y="359767"/>
            <a:ext cx="10440988" cy="720113"/>
          </a:xfrm>
        </p:spPr>
        <p:txBody>
          <a:bodyPr/>
          <a:lstStyle/>
          <a:p>
            <a:r>
              <a:rPr lang="en-US" dirty="0">
                <a:solidFill>
                  <a:srgbClr val="A200E6"/>
                </a:solidFill>
              </a:rPr>
              <a:t>Crypto Agility - Firmware Security Module</a:t>
            </a:r>
            <a:br>
              <a:rPr lang="en-US" dirty="0"/>
            </a:br>
            <a:r>
              <a:rPr lang="en-US" dirty="0"/>
              <a:t>Securable, scalable and updatable Trusted Execution Environment</a:t>
            </a:r>
          </a:p>
        </p:txBody>
      </p:sp>
      <p:sp>
        <p:nvSpPr>
          <p:cNvPr id="8" name="TextBox 7">
            <a:extLst>
              <a:ext uri="{FF2B5EF4-FFF2-40B4-BE49-F238E27FC236}">
                <a16:creationId xmlns:a16="http://schemas.microsoft.com/office/drawing/2014/main" id="{B944362D-FA66-E223-6562-681776515798}"/>
              </a:ext>
            </a:extLst>
          </p:cNvPr>
          <p:cNvSpPr txBox="1"/>
          <p:nvPr/>
        </p:nvSpPr>
        <p:spPr>
          <a:xfrm>
            <a:off x="8460544" y="-21447"/>
            <a:ext cx="3061990" cy="352341"/>
          </a:xfrm>
          <a:prstGeom prst="rect">
            <a:avLst/>
          </a:prstGeom>
          <a:noFill/>
        </p:spPr>
        <p:txBody>
          <a:bodyPr wrap="square" lIns="0" tIns="0" rIns="0" bIns="0" numCol="1" rtlCol="0">
            <a:spAutoFit/>
          </a:bodyPr>
          <a:lstStyle/>
          <a:p>
            <a:pPr>
              <a:lnSpc>
                <a:spcPct val="120000"/>
              </a:lnSpc>
            </a:pPr>
            <a:r>
              <a:rPr lang="en-US" sz="1000" dirty="0"/>
              <a:t>HSM: Hardware Security Module</a:t>
            </a:r>
          </a:p>
          <a:p>
            <a:pPr>
              <a:lnSpc>
                <a:spcPct val="120000"/>
              </a:lnSpc>
            </a:pPr>
            <a:r>
              <a:rPr lang="en-US" sz="1000" dirty="0"/>
              <a:t>VM: Virtual Machine</a:t>
            </a:r>
          </a:p>
        </p:txBody>
      </p:sp>
      <p:sp>
        <p:nvSpPr>
          <p:cNvPr id="9" name="Footer Placeholder 2">
            <a:extLst>
              <a:ext uri="{FF2B5EF4-FFF2-40B4-BE49-F238E27FC236}">
                <a16:creationId xmlns:a16="http://schemas.microsoft.com/office/drawing/2014/main" id="{FEA863C6-85C0-FF26-0CB1-493803B1B35D}"/>
              </a:ext>
            </a:extLst>
          </p:cNvPr>
          <p:cNvSpPr>
            <a:spLocks noGrp="1"/>
          </p:cNvSpPr>
          <p:nvPr>
            <p:ph type="ftr" sz="quarter" idx="10"/>
          </p:nvPr>
        </p:nvSpPr>
        <p:spPr>
          <a:xfrm>
            <a:off x="972123" y="6048375"/>
            <a:ext cx="4608513" cy="179364"/>
          </a:xfrm>
        </p:spPr>
        <p:txBody>
          <a:bodyPr/>
          <a:lstStyle/>
          <a:p>
            <a:r>
              <a:rPr lang="en-US" dirty="0"/>
              <a:t>IAV  05/2025  IAVJ  DKO  Status: draft, confidential</a:t>
            </a:r>
          </a:p>
        </p:txBody>
      </p:sp>
    </p:spTree>
    <p:extLst>
      <p:ext uri="{BB962C8B-B14F-4D97-AF65-F5344CB8AC3E}">
        <p14:creationId xmlns:p14="http://schemas.microsoft.com/office/powerpoint/2010/main" val="66266507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780852-4501-1F16-56F1-5B51746C2C02}"/>
              </a:ext>
            </a:extLst>
          </p:cNvPr>
          <p:cNvSpPr>
            <a:spLocks noGrp="1"/>
          </p:cNvSpPr>
          <p:nvPr>
            <p:ph type="title"/>
          </p:nvPr>
        </p:nvSpPr>
        <p:spPr/>
        <p:txBody>
          <a:bodyPr/>
          <a:lstStyle/>
          <a:p>
            <a:r>
              <a:rPr lang="en-US" dirty="0"/>
              <a:t>Call to Action</a:t>
            </a:r>
          </a:p>
        </p:txBody>
      </p:sp>
      <p:sp>
        <p:nvSpPr>
          <p:cNvPr id="4" name="Slide Number Placeholder 3">
            <a:extLst>
              <a:ext uri="{FF2B5EF4-FFF2-40B4-BE49-F238E27FC236}">
                <a16:creationId xmlns:a16="http://schemas.microsoft.com/office/drawing/2014/main" id="{7969B0D1-D555-84E5-9AB5-5EECA8351D57}"/>
              </a:ext>
            </a:extLst>
          </p:cNvPr>
          <p:cNvSpPr>
            <a:spLocks noGrp="1"/>
          </p:cNvSpPr>
          <p:nvPr>
            <p:ph type="sldNum" sz="quarter" idx="11"/>
          </p:nvPr>
        </p:nvSpPr>
        <p:spPr/>
        <p:txBody>
          <a:bodyPr/>
          <a:lstStyle/>
          <a:p>
            <a:fld id="{C651C7C4-31E4-E340-822E-DEA0EA75A835}" type="slidenum">
              <a:rPr lang="en-US" smtClean="0"/>
              <a:pPr/>
              <a:t>25</a:t>
            </a:fld>
            <a:endParaRPr lang="en-US" dirty="0"/>
          </a:p>
        </p:txBody>
      </p:sp>
      <p:sp>
        <p:nvSpPr>
          <p:cNvPr id="5" name="Text Placeholder 4">
            <a:extLst>
              <a:ext uri="{FF2B5EF4-FFF2-40B4-BE49-F238E27FC236}">
                <a16:creationId xmlns:a16="http://schemas.microsoft.com/office/drawing/2014/main" id="{724D9F25-3AA6-E202-C0A6-275DE7A1FA65}"/>
              </a:ext>
            </a:extLst>
          </p:cNvPr>
          <p:cNvSpPr>
            <a:spLocks noGrp="1"/>
          </p:cNvSpPr>
          <p:nvPr>
            <p:ph type="body" sz="quarter" idx="12"/>
          </p:nvPr>
        </p:nvSpPr>
        <p:spPr>
          <a:xfrm>
            <a:off x="1727796" y="1295400"/>
            <a:ext cx="8280400" cy="4582729"/>
          </a:xfrm>
        </p:spPr>
        <p:txBody>
          <a:bodyPr/>
          <a:lstStyle/>
          <a:p>
            <a:r>
              <a:rPr lang="en-US" sz="2000" dirty="0"/>
              <a:t>Stay up-to-date on automotive </a:t>
            </a:r>
            <a:r>
              <a:rPr lang="en-US" sz="2000" dirty="0">
                <a:solidFill>
                  <a:schemeClr val="accent5"/>
                </a:solidFill>
              </a:rPr>
              <a:t>risks </a:t>
            </a:r>
            <a:r>
              <a:rPr lang="en-US" sz="2000" dirty="0"/>
              <a:t>for the SDV ecosystem</a:t>
            </a:r>
          </a:p>
          <a:p>
            <a:endParaRPr lang="en-US" sz="2000" dirty="0"/>
          </a:p>
          <a:p>
            <a:r>
              <a:rPr lang="en-US" sz="2000" dirty="0"/>
              <a:t>Deploy </a:t>
            </a:r>
            <a:r>
              <a:rPr lang="en-US" sz="2000" dirty="0">
                <a:solidFill>
                  <a:schemeClr val="accent5"/>
                </a:solidFill>
              </a:rPr>
              <a:t>end-to-end security solutions</a:t>
            </a:r>
            <a:r>
              <a:rPr lang="en-US" sz="2000" dirty="0"/>
              <a:t> (vehicle, cloud, mobile device)</a:t>
            </a:r>
          </a:p>
          <a:p>
            <a:endParaRPr lang="en-US" sz="2000" dirty="0"/>
          </a:p>
          <a:p>
            <a:r>
              <a:rPr lang="en-US" sz="2000" dirty="0"/>
              <a:t>Apply best practices for </a:t>
            </a:r>
            <a:r>
              <a:rPr lang="en-US" sz="2000" dirty="0">
                <a:solidFill>
                  <a:schemeClr val="accent5"/>
                </a:solidFill>
              </a:rPr>
              <a:t>secure end-to-end development</a:t>
            </a:r>
            <a:r>
              <a:rPr lang="en-US" sz="2000" dirty="0"/>
              <a:t> lifecycle</a:t>
            </a:r>
          </a:p>
          <a:p>
            <a:endParaRPr lang="en-US" sz="2000" dirty="0"/>
          </a:p>
          <a:p>
            <a:r>
              <a:rPr lang="en-US" sz="2000" dirty="0"/>
              <a:t>Be aware of </a:t>
            </a:r>
            <a:r>
              <a:rPr lang="en-US" sz="2000" dirty="0">
                <a:solidFill>
                  <a:schemeClr val="accent5"/>
                </a:solidFill>
              </a:rPr>
              <a:t>differences </a:t>
            </a:r>
            <a:r>
              <a:rPr lang="en-US" sz="2000" dirty="0"/>
              <a:t>in regulatory requirements</a:t>
            </a:r>
          </a:p>
          <a:p>
            <a:endParaRPr lang="en-US" sz="2000" dirty="0"/>
          </a:p>
          <a:p>
            <a:r>
              <a:rPr lang="en-US" sz="2000" dirty="0"/>
              <a:t>Get ready for </a:t>
            </a:r>
            <a:r>
              <a:rPr lang="en-US" sz="2000" dirty="0">
                <a:solidFill>
                  <a:schemeClr val="accent5"/>
                </a:solidFill>
              </a:rPr>
              <a:t>PQC</a:t>
            </a:r>
          </a:p>
          <a:p>
            <a:pPr marL="0" indent="0">
              <a:buNone/>
            </a:pPr>
            <a:endParaRPr lang="en-US" sz="2000" dirty="0"/>
          </a:p>
        </p:txBody>
      </p:sp>
      <p:grpSp>
        <p:nvGrpSpPr>
          <p:cNvPr id="3" name="easyIcon">
            <a:extLst>
              <a:ext uri="{FF2B5EF4-FFF2-40B4-BE49-F238E27FC236}">
                <a16:creationId xmlns:a16="http://schemas.microsoft.com/office/drawing/2014/main" id="{6C248EF2-2456-D669-A11A-1AD0DABABA42}"/>
              </a:ext>
            </a:extLst>
          </p:cNvPr>
          <p:cNvGrpSpPr>
            <a:grpSpLocks noChangeAspect="1"/>
          </p:cNvGrpSpPr>
          <p:nvPr>
            <p:custDataLst>
              <p:tags r:id="rId1"/>
            </p:custDataLst>
          </p:nvPr>
        </p:nvGrpSpPr>
        <p:grpSpPr>
          <a:xfrm>
            <a:off x="579868" y="3875068"/>
            <a:ext cx="751884" cy="751884"/>
            <a:chOff x="575668" y="1151855"/>
            <a:chExt cx="720000" cy="720000"/>
          </a:xfrm>
        </p:grpSpPr>
        <p:sp>
          <p:nvSpPr>
            <p:cNvPr id="9" name="backgroundFixed">
              <a:extLst>
                <a:ext uri="{FF2B5EF4-FFF2-40B4-BE49-F238E27FC236}">
                  <a16:creationId xmlns:a16="http://schemas.microsoft.com/office/drawing/2014/main" id="{1B0C59E7-9278-D4BE-9106-B20722E87391}"/>
                </a:ext>
              </a:extLst>
            </p:cNvPr>
            <p:cNvSpPr/>
            <p:nvPr>
              <p:custDataLst>
                <p:tags r:id="rId9"/>
              </p:custDataLst>
            </p:nvPr>
          </p:nvSpPr>
          <p:spPr>
            <a:xfrm>
              <a:off x="575668" y="1151855"/>
              <a:ext cx="720000" cy="720000"/>
            </a:xfrm>
            <a:prstGeom prst="ellipse">
              <a:avLst/>
            </a:prstGeom>
            <a:solidFill>
              <a:srgbClr val="A200E6"/>
            </a:solidFill>
            <a:ln w="6350" cap="flat" cmpd="sng" algn="ctr">
              <a:noFill/>
              <a:prstDash val="solid"/>
              <a:round/>
              <a:headEnd type="none" w="med" len="med"/>
              <a:tailEnd type="none" w="med" len="med"/>
            </a:ln>
            <a:effectLst/>
            <a:extLst>
              <a:ext uri="{91240B29-F687-4F45-9708-019B960494DF}">
                <a14:hiddenLine xmlns:a14="http://schemas.microsoft.com/office/drawing/2010/main" w="6350" cap="flat" cmpd="sng" algn="ctr">
                  <a:solidFill>
                    <a:srgbClr val="52C9F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108000" numCol="1" spcCol="0" rtlCol="0" fromWordArt="0" anchor="t" anchorCtr="0" forceAA="0" compatLnSpc="1">
              <a:prstTxWarp prst="textNoShape">
                <a:avLst/>
              </a:prstTxWarp>
              <a:noAutofit/>
            </a:bodyPr>
            <a:lstStyle/>
            <a:p>
              <a:pPr algn="l"/>
              <a:endParaRPr lang="en-US" sz="1400" b="1" dirty="0">
                <a:solidFill>
                  <a:schemeClr val="bg1"/>
                </a:solidFill>
              </a:endParaRPr>
            </a:p>
          </p:txBody>
        </p:sp>
        <p:pic>
          <p:nvPicPr>
            <p:cNvPr id="10" name="Vector">
              <a:extLst>
                <a:ext uri="{FF2B5EF4-FFF2-40B4-BE49-F238E27FC236}">
                  <a16:creationId xmlns:a16="http://schemas.microsoft.com/office/drawing/2014/main" id="{52BCADA5-FFFC-205D-8081-24E9A6B1C443}"/>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bwMode="gray">
            <a:xfrm>
              <a:off x="575668" y="1151855"/>
              <a:ext cx="720000" cy="720000"/>
            </a:xfrm>
            <a:prstGeom prst="rect">
              <a:avLst/>
            </a:prstGeom>
          </p:spPr>
        </p:pic>
      </p:grpSp>
      <p:grpSp>
        <p:nvGrpSpPr>
          <p:cNvPr id="15" name="easyIcon">
            <a:extLst>
              <a:ext uri="{FF2B5EF4-FFF2-40B4-BE49-F238E27FC236}">
                <a16:creationId xmlns:a16="http://schemas.microsoft.com/office/drawing/2014/main" id="{B21C922E-241E-871F-4DCC-6056384040B4}"/>
              </a:ext>
            </a:extLst>
          </p:cNvPr>
          <p:cNvGrpSpPr>
            <a:grpSpLocks noChangeAspect="1"/>
          </p:cNvGrpSpPr>
          <p:nvPr>
            <p:custDataLst>
              <p:tags r:id="rId2"/>
            </p:custDataLst>
          </p:nvPr>
        </p:nvGrpSpPr>
        <p:grpSpPr>
          <a:xfrm>
            <a:off x="579868" y="4835426"/>
            <a:ext cx="751884" cy="751884"/>
            <a:chOff x="4863815" y="1150755"/>
            <a:chExt cx="721099" cy="721099"/>
          </a:xfrm>
        </p:grpSpPr>
        <p:sp>
          <p:nvSpPr>
            <p:cNvPr id="16" name="backgroundFixed">
              <a:extLst>
                <a:ext uri="{FF2B5EF4-FFF2-40B4-BE49-F238E27FC236}">
                  <a16:creationId xmlns:a16="http://schemas.microsoft.com/office/drawing/2014/main" id="{B9A94C88-CBC6-688A-31F3-C03E01F45DD2}"/>
                </a:ext>
              </a:extLst>
            </p:cNvPr>
            <p:cNvSpPr/>
            <p:nvPr>
              <p:custDataLst>
                <p:tags r:id="rId8"/>
              </p:custDataLst>
            </p:nvPr>
          </p:nvSpPr>
          <p:spPr>
            <a:xfrm>
              <a:off x="4863815" y="1150755"/>
              <a:ext cx="721099" cy="721099"/>
            </a:xfrm>
            <a:prstGeom prst="ellipse">
              <a:avLst/>
            </a:prstGeom>
            <a:solidFill>
              <a:srgbClr val="A200E6"/>
            </a:solidFill>
            <a:ln w="6350" cap="flat" cmpd="sng" algn="ctr">
              <a:noFill/>
              <a:prstDash val="solid"/>
              <a:round/>
              <a:headEnd type="none" w="med" len="med"/>
              <a:tailEnd type="none" w="med" len="med"/>
            </a:ln>
            <a:effectLst/>
            <a:extLst>
              <a:ext uri="{91240B29-F687-4F45-9708-019B960494DF}">
                <a14:hiddenLine xmlns:a14="http://schemas.microsoft.com/office/drawing/2010/main" w="6350" cap="flat" cmpd="sng" algn="ctr">
                  <a:solidFill>
                    <a:srgbClr val="52C9F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108000" numCol="1" spcCol="0" rtlCol="0" fromWordArt="0" anchor="t" anchorCtr="0" forceAA="0" compatLnSpc="1">
              <a:prstTxWarp prst="textNoShape">
                <a:avLst/>
              </a:prstTxWarp>
              <a:noAutofit/>
            </a:bodyPr>
            <a:lstStyle/>
            <a:p>
              <a:pPr algn="l"/>
              <a:endParaRPr lang="en-US" sz="1400" b="1" dirty="0">
                <a:solidFill>
                  <a:schemeClr val="bg1"/>
                </a:solidFill>
              </a:endParaRPr>
            </a:p>
          </p:txBody>
        </p:sp>
        <p:pic>
          <p:nvPicPr>
            <p:cNvPr id="17" name="Vector">
              <a:extLst>
                <a:ext uri="{FF2B5EF4-FFF2-40B4-BE49-F238E27FC236}">
                  <a16:creationId xmlns:a16="http://schemas.microsoft.com/office/drawing/2014/main" id="{90366635-27FA-7C5E-3FCC-16A2EE5C6D45}"/>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bwMode="gray">
            <a:xfrm>
              <a:off x="4863815" y="1150755"/>
              <a:ext cx="721099" cy="721099"/>
            </a:xfrm>
            <a:prstGeom prst="rect">
              <a:avLst/>
            </a:prstGeom>
          </p:spPr>
        </p:pic>
      </p:grpSp>
      <p:grpSp>
        <p:nvGrpSpPr>
          <p:cNvPr id="27" name="easyIcon">
            <a:extLst>
              <a:ext uri="{FF2B5EF4-FFF2-40B4-BE49-F238E27FC236}">
                <a16:creationId xmlns:a16="http://schemas.microsoft.com/office/drawing/2014/main" id="{FE162FBE-A53C-B270-4D85-58ED45D3B115}"/>
              </a:ext>
            </a:extLst>
          </p:cNvPr>
          <p:cNvGrpSpPr>
            <a:grpSpLocks noChangeAspect="1"/>
          </p:cNvGrpSpPr>
          <p:nvPr>
            <p:custDataLst>
              <p:tags r:id="rId3"/>
            </p:custDataLst>
          </p:nvPr>
        </p:nvGrpSpPr>
        <p:grpSpPr>
          <a:xfrm>
            <a:off x="579868" y="2992607"/>
            <a:ext cx="751884" cy="751884"/>
            <a:chOff x="8028234" y="1224510"/>
            <a:chExt cx="720000" cy="720000"/>
          </a:xfrm>
        </p:grpSpPr>
        <p:sp>
          <p:nvSpPr>
            <p:cNvPr id="28" name="backgroundFixed">
              <a:extLst>
                <a:ext uri="{FF2B5EF4-FFF2-40B4-BE49-F238E27FC236}">
                  <a16:creationId xmlns:a16="http://schemas.microsoft.com/office/drawing/2014/main" id="{7D9CFD2B-82A9-96F7-04FE-40680634FAE8}"/>
                </a:ext>
              </a:extLst>
            </p:cNvPr>
            <p:cNvSpPr/>
            <p:nvPr>
              <p:custDataLst>
                <p:tags r:id="rId7"/>
              </p:custDataLst>
            </p:nvPr>
          </p:nvSpPr>
          <p:spPr>
            <a:xfrm>
              <a:off x="8028234" y="1224510"/>
              <a:ext cx="720000" cy="720000"/>
            </a:xfrm>
            <a:prstGeom prst="ellipse">
              <a:avLst/>
            </a:prstGeom>
            <a:solidFill>
              <a:srgbClr val="A200E6"/>
            </a:solidFill>
            <a:ln w="6350" cap="flat" cmpd="sng" algn="ctr">
              <a:noFill/>
              <a:prstDash val="solid"/>
              <a:round/>
              <a:headEnd type="none" w="med" len="med"/>
              <a:tailEnd type="none" w="med" len="med"/>
            </a:ln>
            <a:effectLst/>
            <a:extLst>
              <a:ext uri="{91240B29-F687-4F45-9708-019B960494DF}">
                <a14:hiddenLine xmlns:a14="http://schemas.microsoft.com/office/drawing/2010/main" w="6350" cap="flat" cmpd="sng" algn="ctr">
                  <a:solidFill>
                    <a:srgbClr val="52C9F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108000" numCol="1" spcCol="0" rtlCol="0" fromWordArt="0" anchor="t" anchorCtr="0" forceAA="0" compatLnSpc="1">
              <a:prstTxWarp prst="textNoShape">
                <a:avLst/>
              </a:prstTxWarp>
              <a:noAutofit/>
            </a:bodyPr>
            <a:lstStyle/>
            <a:p>
              <a:pPr algn="l"/>
              <a:endParaRPr lang="en-US" sz="1400" b="1" dirty="0">
                <a:solidFill>
                  <a:schemeClr val="bg1"/>
                </a:solidFill>
              </a:endParaRPr>
            </a:p>
          </p:txBody>
        </p:sp>
        <p:pic>
          <p:nvPicPr>
            <p:cNvPr id="29" name="Vector">
              <a:extLst>
                <a:ext uri="{FF2B5EF4-FFF2-40B4-BE49-F238E27FC236}">
                  <a16:creationId xmlns:a16="http://schemas.microsoft.com/office/drawing/2014/main" id="{25C41ADD-051C-A854-3E5B-E75B27CA10B4}"/>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bwMode="gray">
            <a:xfrm>
              <a:off x="8028234" y="1224510"/>
              <a:ext cx="720000" cy="720000"/>
            </a:xfrm>
            <a:prstGeom prst="rect">
              <a:avLst/>
            </a:prstGeom>
          </p:spPr>
        </p:pic>
      </p:grpSp>
      <p:grpSp>
        <p:nvGrpSpPr>
          <p:cNvPr id="33" name="easyIcon">
            <a:extLst>
              <a:ext uri="{FF2B5EF4-FFF2-40B4-BE49-F238E27FC236}">
                <a16:creationId xmlns:a16="http://schemas.microsoft.com/office/drawing/2014/main" id="{B92CCE94-8F74-2C68-D175-1197B7E2C306}"/>
              </a:ext>
            </a:extLst>
          </p:cNvPr>
          <p:cNvGrpSpPr>
            <a:grpSpLocks noChangeAspect="1"/>
          </p:cNvGrpSpPr>
          <p:nvPr>
            <p:custDataLst>
              <p:tags r:id="rId4"/>
            </p:custDataLst>
          </p:nvPr>
        </p:nvGrpSpPr>
        <p:grpSpPr>
          <a:xfrm>
            <a:off x="579868" y="1088769"/>
            <a:ext cx="751884" cy="751884"/>
            <a:chOff x="7920234" y="5137589"/>
            <a:chExt cx="900000" cy="900000"/>
          </a:xfrm>
        </p:grpSpPr>
        <p:sp>
          <p:nvSpPr>
            <p:cNvPr id="34" name="backgroundFixed">
              <a:extLst>
                <a:ext uri="{FF2B5EF4-FFF2-40B4-BE49-F238E27FC236}">
                  <a16:creationId xmlns:a16="http://schemas.microsoft.com/office/drawing/2014/main" id="{224A65BD-11F7-3DAC-0345-DC59C3D6BBE1}"/>
                </a:ext>
              </a:extLst>
            </p:cNvPr>
            <p:cNvSpPr/>
            <p:nvPr>
              <p:custDataLst>
                <p:tags r:id="rId6"/>
              </p:custDataLst>
            </p:nvPr>
          </p:nvSpPr>
          <p:spPr>
            <a:xfrm>
              <a:off x="7920234" y="5137589"/>
              <a:ext cx="900000" cy="900000"/>
            </a:xfrm>
            <a:prstGeom prst="ellipse">
              <a:avLst/>
            </a:prstGeom>
            <a:solidFill>
              <a:srgbClr val="A200E6"/>
            </a:solidFill>
            <a:ln w="6350" cap="flat" cmpd="sng" algn="ctr">
              <a:noFill/>
              <a:prstDash val="solid"/>
              <a:round/>
              <a:headEnd type="none" w="med" len="med"/>
              <a:tailEnd type="none" w="med" len="med"/>
            </a:ln>
            <a:effectLst/>
            <a:extLst>
              <a:ext uri="{91240B29-F687-4F45-9708-019B960494DF}">
                <a14:hiddenLine xmlns:a14="http://schemas.microsoft.com/office/drawing/2010/main" w="6350" cap="flat" cmpd="sng" algn="ctr">
                  <a:solidFill>
                    <a:srgbClr val="52C9F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108000" numCol="1" spcCol="0" rtlCol="0" fromWordArt="0" anchor="t" anchorCtr="0" forceAA="0" compatLnSpc="1">
              <a:prstTxWarp prst="textNoShape">
                <a:avLst/>
              </a:prstTxWarp>
              <a:noAutofit/>
            </a:bodyPr>
            <a:lstStyle/>
            <a:p>
              <a:pPr algn="l"/>
              <a:endParaRPr lang="en-US" sz="1400" b="1" dirty="0">
                <a:solidFill>
                  <a:schemeClr val="bg1"/>
                </a:solidFill>
              </a:endParaRPr>
            </a:p>
          </p:txBody>
        </p:sp>
        <p:pic>
          <p:nvPicPr>
            <p:cNvPr id="35" name="Vector">
              <a:extLst>
                <a:ext uri="{FF2B5EF4-FFF2-40B4-BE49-F238E27FC236}">
                  <a16:creationId xmlns:a16="http://schemas.microsoft.com/office/drawing/2014/main" id="{58D0AB68-D356-E914-F5C9-023AA4132D68}"/>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bwMode="gray">
            <a:xfrm>
              <a:off x="7920234" y="5137589"/>
              <a:ext cx="900000" cy="900000"/>
            </a:xfrm>
            <a:prstGeom prst="rect">
              <a:avLst/>
            </a:prstGeom>
          </p:spPr>
        </p:pic>
      </p:grpSp>
      <p:grpSp>
        <p:nvGrpSpPr>
          <p:cNvPr id="46" name="Group 45">
            <a:extLst>
              <a:ext uri="{FF2B5EF4-FFF2-40B4-BE49-F238E27FC236}">
                <a16:creationId xmlns:a16="http://schemas.microsoft.com/office/drawing/2014/main" id="{0F44CEAD-9E6B-9BE2-4DFB-7E65BAA0B373}"/>
              </a:ext>
            </a:extLst>
          </p:cNvPr>
          <p:cNvGrpSpPr/>
          <p:nvPr/>
        </p:nvGrpSpPr>
        <p:grpSpPr>
          <a:xfrm>
            <a:off x="579868" y="2005465"/>
            <a:ext cx="751884" cy="751884"/>
            <a:chOff x="-108408" y="1347691"/>
            <a:chExt cx="751884" cy="751884"/>
          </a:xfrm>
        </p:grpSpPr>
        <p:sp>
          <p:nvSpPr>
            <p:cNvPr id="43" name="backgroundFixed">
              <a:extLst>
                <a:ext uri="{FF2B5EF4-FFF2-40B4-BE49-F238E27FC236}">
                  <a16:creationId xmlns:a16="http://schemas.microsoft.com/office/drawing/2014/main" id="{B03ACD57-6A01-5D71-33A6-0815493D7F64}"/>
                </a:ext>
              </a:extLst>
            </p:cNvPr>
            <p:cNvSpPr/>
            <p:nvPr>
              <p:custDataLst>
                <p:tags r:id="rId5"/>
              </p:custDataLst>
            </p:nvPr>
          </p:nvSpPr>
          <p:spPr>
            <a:xfrm>
              <a:off x="-108408" y="1347691"/>
              <a:ext cx="751884" cy="751884"/>
            </a:xfrm>
            <a:prstGeom prst="ellipse">
              <a:avLst/>
            </a:prstGeom>
            <a:solidFill>
              <a:srgbClr val="A200E6"/>
            </a:solidFill>
            <a:ln w="6350" cap="flat" cmpd="sng" algn="ctr">
              <a:noFill/>
              <a:prstDash val="solid"/>
              <a:round/>
              <a:headEnd type="none" w="med" len="med"/>
              <a:tailEnd type="none" w="med" len="med"/>
            </a:ln>
            <a:effectLst/>
            <a:extLst>
              <a:ext uri="{91240B29-F687-4F45-9708-019B960494DF}">
                <a14:hiddenLine xmlns:a14="http://schemas.microsoft.com/office/drawing/2010/main" w="6350" cap="flat" cmpd="sng" algn="ctr">
                  <a:solidFill>
                    <a:srgbClr val="52C9F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108000" numCol="1" spcCol="0" rtlCol="0" fromWordArt="0" anchor="t" anchorCtr="0" forceAA="0" compatLnSpc="1">
              <a:prstTxWarp prst="textNoShape">
                <a:avLst/>
              </a:prstTxWarp>
              <a:noAutofit/>
            </a:bodyPr>
            <a:lstStyle/>
            <a:p>
              <a:pPr algn="l"/>
              <a:endParaRPr lang="en-US" sz="1400" b="1" dirty="0">
                <a:solidFill>
                  <a:schemeClr val="bg1"/>
                </a:solidFill>
              </a:endParaRPr>
            </a:p>
          </p:txBody>
        </p:sp>
        <p:pic>
          <p:nvPicPr>
            <p:cNvPr id="41" name="Vector">
              <a:extLst>
                <a:ext uri="{FF2B5EF4-FFF2-40B4-BE49-F238E27FC236}">
                  <a16:creationId xmlns:a16="http://schemas.microsoft.com/office/drawing/2014/main" id="{CD89687D-0624-E090-4333-5210F65C9A29}"/>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bwMode="gray">
            <a:xfrm>
              <a:off x="-108408" y="1493029"/>
              <a:ext cx="461208" cy="461208"/>
            </a:xfrm>
            <a:prstGeom prst="rect">
              <a:avLst/>
            </a:prstGeom>
          </p:spPr>
        </p:pic>
        <p:pic>
          <p:nvPicPr>
            <p:cNvPr id="32" name="Vector">
              <a:extLst>
                <a:ext uri="{FF2B5EF4-FFF2-40B4-BE49-F238E27FC236}">
                  <a16:creationId xmlns:a16="http://schemas.microsoft.com/office/drawing/2014/main" id="{084468FA-5A1E-13F6-87FD-1468DF756540}"/>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bwMode="gray">
            <a:xfrm>
              <a:off x="181921" y="1508906"/>
              <a:ext cx="461208" cy="461208"/>
            </a:xfrm>
            <a:prstGeom prst="rect">
              <a:avLst/>
            </a:prstGeom>
          </p:spPr>
        </p:pic>
      </p:grpSp>
      <p:sp>
        <p:nvSpPr>
          <p:cNvPr id="47" name="TextBox 46">
            <a:extLst>
              <a:ext uri="{FF2B5EF4-FFF2-40B4-BE49-F238E27FC236}">
                <a16:creationId xmlns:a16="http://schemas.microsoft.com/office/drawing/2014/main" id="{F834F997-D023-87FA-A7EB-921D03079EBE}"/>
              </a:ext>
            </a:extLst>
          </p:cNvPr>
          <p:cNvSpPr txBox="1"/>
          <p:nvPr/>
        </p:nvSpPr>
        <p:spPr>
          <a:xfrm>
            <a:off x="9449743" y="-21448"/>
            <a:ext cx="3061990" cy="352341"/>
          </a:xfrm>
          <a:prstGeom prst="rect">
            <a:avLst/>
          </a:prstGeom>
          <a:noFill/>
        </p:spPr>
        <p:txBody>
          <a:bodyPr wrap="square" lIns="0" tIns="0" rIns="0" bIns="0" numCol="1" rtlCol="0">
            <a:spAutoFit/>
          </a:bodyPr>
          <a:lstStyle/>
          <a:p>
            <a:pPr>
              <a:lnSpc>
                <a:spcPct val="120000"/>
              </a:lnSpc>
            </a:pPr>
            <a:r>
              <a:rPr lang="en-US" sz="1000" dirty="0"/>
              <a:t>SDV: Software-Defined Vehicle</a:t>
            </a:r>
          </a:p>
          <a:p>
            <a:pPr>
              <a:lnSpc>
                <a:spcPct val="120000"/>
              </a:lnSpc>
            </a:pPr>
            <a:r>
              <a:rPr lang="en-US" sz="1000" dirty="0"/>
              <a:t>PQC: Post-Quantum Cryptography </a:t>
            </a:r>
          </a:p>
        </p:txBody>
      </p:sp>
      <p:sp>
        <p:nvSpPr>
          <p:cNvPr id="48" name="Footer Placeholder 2">
            <a:extLst>
              <a:ext uri="{FF2B5EF4-FFF2-40B4-BE49-F238E27FC236}">
                <a16:creationId xmlns:a16="http://schemas.microsoft.com/office/drawing/2014/main" id="{E316891C-8009-BFFB-274B-1CAB35A1E8AF}"/>
              </a:ext>
            </a:extLst>
          </p:cNvPr>
          <p:cNvSpPr>
            <a:spLocks noGrp="1"/>
          </p:cNvSpPr>
          <p:nvPr>
            <p:ph type="ftr" sz="quarter" idx="10"/>
          </p:nvPr>
        </p:nvSpPr>
        <p:spPr>
          <a:xfrm>
            <a:off x="972123" y="6048375"/>
            <a:ext cx="4608513" cy="179364"/>
          </a:xfrm>
        </p:spPr>
        <p:txBody>
          <a:bodyPr/>
          <a:lstStyle/>
          <a:p>
            <a:r>
              <a:rPr lang="en-US" dirty="0"/>
              <a:t>IAV  05/2025  IAVJ  DKO  Status: draft, confidential</a:t>
            </a:r>
          </a:p>
        </p:txBody>
      </p:sp>
    </p:spTree>
    <p:extLst>
      <p:ext uri="{BB962C8B-B14F-4D97-AF65-F5344CB8AC3E}">
        <p14:creationId xmlns:p14="http://schemas.microsoft.com/office/powerpoint/2010/main" val="102766080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0BA34493-D988-4172-8503-5C21DA187631}"/>
              </a:ext>
            </a:extLst>
          </p:cNvPr>
          <p:cNvSpPr>
            <a:spLocks noGrp="1"/>
          </p:cNvSpPr>
          <p:nvPr>
            <p:ph type="title"/>
            <p:custDataLst>
              <p:tags r:id="rId2"/>
            </p:custDataLst>
          </p:nvPr>
        </p:nvSpPr>
        <p:spPr/>
        <p:txBody>
          <a:bodyPr/>
          <a:lstStyle/>
          <a:p>
            <a:r>
              <a:rPr lang="en-US"/>
              <a:t>Contact</a:t>
            </a:r>
            <a:endParaRPr lang="en-US" dirty="0"/>
          </a:p>
        </p:txBody>
      </p:sp>
      <p:sp>
        <p:nvSpPr>
          <p:cNvPr id="2" name="Fußzeilenplatzhalter 1">
            <a:extLst>
              <a:ext uri="{FF2B5EF4-FFF2-40B4-BE49-F238E27FC236}">
                <a16:creationId xmlns:a16="http://schemas.microsoft.com/office/drawing/2014/main" id="{1A92AC00-1458-4355-9315-DE22D06396AF}"/>
              </a:ext>
            </a:extLst>
          </p:cNvPr>
          <p:cNvSpPr>
            <a:spLocks noGrp="1"/>
          </p:cNvSpPr>
          <p:nvPr>
            <p:ph type="ftr" sz="quarter" idx="3"/>
          </p:nvPr>
        </p:nvSpPr>
        <p:spPr/>
        <p:txBody>
          <a:bodyPr/>
          <a:lstStyle/>
          <a:p>
            <a:r>
              <a:rPr lang="en-US"/>
              <a:t>IAV  MM/YYYY  Department Code  Initials  Status: draft, confidential</a:t>
            </a:r>
            <a:endParaRPr lang="en-US" dirty="0"/>
          </a:p>
        </p:txBody>
      </p:sp>
      <p:sp>
        <p:nvSpPr>
          <p:cNvPr id="10" name="Foliennummernplatzhalter 9">
            <a:extLst>
              <a:ext uri="{FF2B5EF4-FFF2-40B4-BE49-F238E27FC236}">
                <a16:creationId xmlns:a16="http://schemas.microsoft.com/office/drawing/2014/main" id="{51864CDE-6951-401C-B278-D9B4CBABABC9}"/>
              </a:ext>
            </a:extLst>
          </p:cNvPr>
          <p:cNvSpPr>
            <a:spLocks noGrp="1"/>
          </p:cNvSpPr>
          <p:nvPr>
            <p:ph type="sldNum" sz="quarter" idx="4"/>
          </p:nvPr>
        </p:nvSpPr>
        <p:spPr/>
        <p:txBody>
          <a:bodyPr/>
          <a:lstStyle/>
          <a:p>
            <a:fld id="{C651C7C4-31E4-E340-822E-DEA0EA75A835}" type="slidenum">
              <a:rPr lang="en-US" smtClean="0"/>
              <a:pPr/>
              <a:t>26</a:t>
            </a:fld>
            <a:endParaRPr lang="en-US" dirty="0"/>
          </a:p>
        </p:txBody>
      </p:sp>
      <p:sp>
        <p:nvSpPr>
          <p:cNvPr id="7" name="Textplatzhalter 6">
            <a:extLst>
              <a:ext uri="{FF2B5EF4-FFF2-40B4-BE49-F238E27FC236}">
                <a16:creationId xmlns:a16="http://schemas.microsoft.com/office/drawing/2014/main" id="{D10E7627-693E-4577-A6E2-5891B69B95CD}"/>
              </a:ext>
            </a:extLst>
          </p:cNvPr>
          <p:cNvSpPr>
            <a:spLocks noGrp="1"/>
          </p:cNvSpPr>
          <p:nvPr>
            <p:ph type="body" sz="quarter" idx="13"/>
            <p:custDataLst>
              <p:tags r:id="rId3"/>
            </p:custDataLst>
          </p:nvPr>
        </p:nvSpPr>
        <p:spPr>
          <a:xfrm>
            <a:off x="539750" y="3960813"/>
            <a:ext cx="8280400" cy="1527406"/>
          </a:xfrm>
        </p:spPr>
        <p:txBody>
          <a:bodyPr/>
          <a:lstStyle/>
          <a:p>
            <a:r>
              <a:rPr lang="de-DE" dirty="0"/>
              <a:t>Dr. Dennis Kengo Oka </a:t>
            </a:r>
            <a:endParaRPr lang="de-DE" dirty="0">
              <a:latin typeface="游ゴシック Medium" panose="020B0500000000000000" pitchFamily="50" charset="-128"/>
              <a:ea typeface="游ゴシック Medium" panose="020B0500000000000000" pitchFamily="50" charset="-128"/>
            </a:endParaRPr>
          </a:p>
          <a:p>
            <a:r>
              <a:rPr lang="de-DE" dirty="0"/>
              <a:t>IAV Co., Ltd. </a:t>
            </a:r>
          </a:p>
          <a:p>
            <a:r>
              <a:rPr lang="de-DE" dirty="0">
                <a:hlinkClick r:id="rId6"/>
              </a:rPr>
              <a:t>dennis.kengo.oka@iav.jp</a:t>
            </a:r>
            <a:r>
              <a:rPr lang="de-DE" dirty="0"/>
              <a:t> </a:t>
            </a:r>
          </a:p>
          <a:p>
            <a:r>
              <a:rPr lang="de-DE" dirty="0"/>
              <a:t>www.iav.com</a:t>
            </a:r>
          </a:p>
          <a:p>
            <a:endParaRPr lang="en-US" dirty="0"/>
          </a:p>
          <a:p>
            <a:endParaRPr lang="en-US" dirty="0"/>
          </a:p>
        </p:txBody>
      </p:sp>
    </p:spTree>
    <p:custDataLst>
      <p:tags r:id="rId1"/>
    </p:custDataLst>
    <p:extLst>
      <p:ext uri="{BB962C8B-B14F-4D97-AF65-F5344CB8AC3E}">
        <p14:creationId xmlns:p14="http://schemas.microsoft.com/office/powerpoint/2010/main" val="139910194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80750A73-FDEC-4A78-A501-53D5BE0CA08C}"/>
              </a:ext>
            </a:extLst>
          </p:cNvPr>
          <p:cNvSpPr>
            <a:spLocks noGrp="1"/>
          </p:cNvSpPr>
          <p:nvPr>
            <p:ph type="title"/>
          </p:nvPr>
        </p:nvSpPr>
        <p:spPr>
          <a:xfrm>
            <a:off x="6840538" y="1295400"/>
            <a:ext cx="4140200" cy="403745"/>
          </a:xfrm>
        </p:spPr>
        <p:txBody>
          <a:bodyPr/>
          <a:lstStyle/>
          <a:p>
            <a:r>
              <a:rPr lang="en-US" dirty="0"/>
              <a:t>Dr. Dennis Kengo Oka</a:t>
            </a:r>
          </a:p>
        </p:txBody>
      </p:sp>
      <p:sp>
        <p:nvSpPr>
          <p:cNvPr id="2" name="Fußzeilenplatzhalter 1">
            <a:extLst>
              <a:ext uri="{FF2B5EF4-FFF2-40B4-BE49-F238E27FC236}">
                <a16:creationId xmlns:a16="http://schemas.microsoft.com/office/drawing/2014/main" id="{7054490E-C206-42A8-A4EE-672A868A9F51}"/>
              </a:ext>
            </a:extLst>
          </p:cNvPr>
          <p:cNvSpPr>
            <a:spLocks noGrp="1"/>
          </p:cNvSpPr>
          <p:nvPr>
            <p:ph type="ftr" sz="quarter" idx="3"/>
          </p:nvPr>
        </p:nvSpPr>
        <p:spPr/>
        <p:txBody>
          <a:bodyPr/>
          <a:lstStyle/>
          <a:p>
            <a:r>
              <a:rPr lang="en-US"/>
              <a:t>IAV  MM/YYYY  Department Code  Initials  Status: draft, confidential</a:t>
            </a:r>
            <a:endParaRPr lang="en-US" dirty="0"/>
          </a:p>
        </p:txBody>
      </p:sp>
      <p:sp>
        <p:nvSpPr>
          <p:cNvPr id="6" name="Foliennummernplatzhalter 5">
            <a:extLst>
              <a:ext uri="{FF2B5EF4-FFF2-40B4-BE49-F238E27FC236}">
                <a16:creationId xmlns:a16="http://schemas.microsoft.com/office/drawing/2014/main" id="{34777B78-1BE6-449D-96D3-3FB38AACD2CA}"/>
              </a:ext>
            </a:extLst>
          </p:cNvPr>
          <p:cNvSpPr>
            <a:spLocks noGrp="1"/>
          </p:cNvSpPr>
          <p:nvPr>
            <p:ph type="sldNum" sz="quarter" idx="4"/>
          </p:nvPr>
        </p:nvSpPr>
        <p:spPr/>
        <p:txBody>
          <a:bodyPr/>
          <a:lstStyle/>
          <a:p>
            <a:fld id="{C651C7C4-31E4-E340-822E-DEA0EA75A835}" type="slidenum">
              <a:rPr lang="en-US" smtClean="0"/>
              <a:pPr/>
              <a:t>3</a:t>
            </a:fld>
            <a:endParaRPr lang="en-US" dirty="0"/>
          </a:p>
        </p:txBody>
      </p:sp>
      <p:sp>
        <p:nvSpPr>
          <p:cNvPr id="3" name="Text Placeholder 2">
            <a:extLst>
              <a:ext uri="{FF2B5EF4-FFF2-40B4-BE49-F238E27FC236}">
                <a16:creationId xmlns:a16="http://schemas.microsoft.com/office/drawing/2014/main" id="{6E997B36-CAE2-8E25-D9B8-845D7ED1ED45}"/>
              </a:ext>
            </a:extLst>
          </p:cNvPr>
          <p:cNvSpPr>
            <a:spLocks noGrp="1"/>
          </p:cNvSpPr>
          <p:nvPr>
            <p:ph type="body" sz="quarter" idx="12"/>
          </p:nvPr>
        </p:nvSpPr>
        <p:spPr>
          <a:xfrm>
            <a:off x="6840538" y="1879165"/>
            <a:ext cx="3960812" cy="2093715"/>
          </a:xfrm>
        </p:spPr>
        <p:txBody>
          <a:bodyPr/>
          <a:lstStyle/>
          <a:p>
            <a:pPr marL="180000" lvl="2">
              <a:buClrTx/>
            </a:pPr>
            <a:r>
              <a:rPr kumimoji="1" lang="en-US" sz="1400" b="0" dirty="0">
                <a:solidFill>
                  <a:srgbClr val="001A54"/>
                </a:solidFill>
                <a:latin typeface="+mn-lt"/>
                <a:ea typeface="MS PGothic" panose="020B0600070205080204" pitchFamily="34" charset="-128"/>
              </a:rPr>
              <a:t>Started working on automotive security in 2006</a:t>
            </a:r>
            <a:endParaRPr kumimoji="1" lang="en-US" sz="1400" dirty="0">
              <a:solidFill>
                <a:srgbClr val="001A54"/>
              </a:solidFill>
              <a:ea typeface="MS PGothic" panose="020B0600070205080204" pitchFamily="34" charset="-128"/>
            </a:endParaRPr>
          </a:p>
          <a:p>
            <a:pPr marL="180000" lvl="2">
              <a:buClrTx/>
            </a:pPr>
            <a:r>
              <a:rPr lang="en-US" altLang="ja-JP" sz="1400" b="0" dirty="0">
                <a:solidFill>
                  <a:srgbClr val="001A54"/>
                </a:solidFill>
                <a:latin typeface="+mn-lt"/>
                <a:ea typeface="MS PGothic" panose="020B0600070205080204" pitchFamily="34" charset="-128"/>
              </a:rPr>
              <a:t>Involved in standardization and best practices activities</a:t>
            </a:r>
          </a:p>
          <a:p>
            <a:pPr marL="180000" lvl="2">
              <a:buClrTx/>
            </a:pPr>
            <a:r>
              <a:rPr kumimoji="1" lang="en-US" sz="1400" b="0" dirty="0">
                <a:solidFill>
                  <a:srgbClr val="001A54"/>
                </a:solidFill>
                <a:latin typeface="+mn-lt"/>
                <a:ea typeface="MS PGothic" panose="020B0600070205080204" pitchFamily="34" charset="-128"/>
              </a:rPr>
              <a:t>70+ publications and presentations at events</a:t>
            </a:r>
            <a:endParaRPr lang="en-US" sz="1400" dirty="0">
              <a:solidFill>
                <a:srgbClr val="001A54"/>
              </a:solidFill>
            </a:endParaRPr>
          </a:p>
          <a:p>
            <a:pPr marL="180000" lvl="2">
              <a:buClrTx/>
            </a:pPr>
            <a:r>
              <a:rPr lang="en-US" sz="1400" dirty="0">
                <a:solidFill>
                  <a:srgbClr val="001A54"/>
                </a:solidFill>
              </a:rPr>
              <a:t>Global Technical &amp; Cybersecurity Advisor</a:t>
            </a:r>
          </a:p>
          <a:p>
            <a:endParaRPr lang="en-US" dirty="0"/>
          </a:p>
          <a:p>
            <a:endParaRPr lang="en-US" dirty="0"/>
          </a:p>
        </p:txBody>
      </p:sp>
      <p:sp>
        <p:nvSpPr>
          <p:cNvPr id="17" name="Speech Bubble: Rectangle with Corners Rounded 16">
            <a:extLst>
              <a:ext uri="{FF2B5EF4-FFF2-40B4-BE49-F238E27FC236}">
                <a16:creationId xmlns:a16="http://schemas.microsoft.com/office/drawing/2014/main" id="{2023AF66-6816-0233-775A-597065496506}"/>
              </a:ext>
            </a:extLst>
          </p:cNvPr>
          <p:cNvSpPr/>
          <p:nvPr/>
        </p:nvSpPr>
        <p:spPr>
          <a:xfrm>
            <a:off x="143620" y="5554128"/>
            <a:ext cx="9181020" cy="763487"/>
          </a:xfrm>
          <a:prstGeom prst="wedgeRoundRectCallout">
            <a:avLst>
              <a:gd name="adj1" fmla="val 31262"/>
              <a:gd name="adj2" fmla="val -68391"/>
              <a:gd name="adj3" fmla="val 16667"/>
            </a:avLst>
          </a:prstGeom>
          <a:solidFill>
            <a:srgbClr val="0070C0"/>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7" dirty="0"/>
              <a:t>Author of books: “</a:t>
            </a:r>
            <a:r>
              <a:rPr lang="en-US" sz="1607" i="1" dirty="0"/>
              <a:t>Building Secure Cars: Assuring the Automotive Software Development Lifecycle” and “</a:t>
            </a:r>
            <a:r>
              <a:rPr lang="en-US" sz="1600" i="1" dirty="0"/>
              <a:t>Building Secure Automotive IoT Applications: Developing Robust IoT Solutions for Next-Gen Automotive Software”</a:t>
            </a:r>
            <a:endParaRPr lang="en-US" sz="1607" i="1" dirty="0"/>
          </a:p>
        </p:txBody>
      </p:sp>
      <p:pic>
        <p:nvPicPr>
          <p:cNvPr id="18" name="Picture 17">
            <a:extLst>
              <a:ext uri="{FF2B5EF4-FFF2-40B4-BE49-F238E27FC236}">
                <a16:creationId xmlns:a16="http://schemas.microsoft.com/office/drawing/2014/main" id="{CFE0AC92-D0BD-F15E-B8A8-D4E894509C4C}"/>
              </a:ext>
            </a:extLst>
          </p:cNvPr>
          <p:cNvPicPr>
            <a:picLocks noChangeAspect="1"/>
          </p:cNvPicPr>
          <p:nvPr/>
        </p:nvPicPr>
        <p:blipFill>
          <a:blip r:embed="rId3"/>
          <a:stretch>
            <a:fillRect/>
          </a:stretch>
        </p:blipFill>
        <p:spPr>
          <a:xfrm>
            <a:off x="6825928" y="3673215"/>
            <a:ext cx="1027574" cy="1489158"/>
          </a:xfrm>
          <a:prstGeom prst="rect">
            <a:avLst/>
          </a:prstGeom>
        </p:spPr>
      </p:pic>
      <p:pic>
        <p:nvPicPr>
          <p:cNvPr id="19" name="Picture 18">
            <a:extLst>
              <a:ext uri="{FF2B5EF4-FFF2-40B4-BE49-F238E27FC236}">
                <a16:creationId xmlns:a16="http://schemas.microsoft.com/office/drawing/2014/main" id="{05234990-CA6A-70E9-6DC0-FFB01923FA20}"/>
              </a:ext>
            </a:extLst>
          </p:cNvPr>
          <p:cNvPicPr>
            <a:picLocks noChangeAspect="1"/>
          </p:cNvPicPr>
          <p:nvPr/>
        </p:nvPicPr>
        <p:blipFill>
          <a:blip r:embed="rId4"/>
          <a:stretch>
            <a:fillRect/>
          </a:stretch>
        </p:blipFill>
        <p:spPr>
          <a:xfrm>
            <a:off x="7999535" y="3673215"/>
            <a:ext cx="1208033" cy="1489738"/>
          </a:xfrm>
          <a:prstGeom prst="rect">
            <a:avLst/>
          </a:prstGeom>
        </p:spPr>
      </p:pic>
      <p:pic>
        <p:nvPicPr>
          <p:cNvPr id="23" name="Picture Placeholder 22">
            <a:extLst>
              <a:ext uri="{FF2B5EF4-FFF2-40B4-BE49-F238E27FC236}">
                <a16:creationId xmlns:a16="http://schemas.microsoft.com/office/drawing/2014/main" id="{5EAB2584-D1A5-F0B5-5E90-926C925FEED1}"/>
              </a:ext>
            </a:extLst>
          </p:cNvPr>
          <p:cNvPicPr>
            <a:picLocks noGrp="1" noChangeAspect="1"/>
          </p:cNvPicPr>
          <p:nvPr>
            <p:ph type="pic" sz="quarter" idx="13"/>
          </p:nvPr>
        </p:nvPicPr>
        <p:blipFill>
          <a:blip r:embed="rId5">
            <a:extLst>
              <a:ext uri="{28A0092B-C50C-407E-A947-70E740481C1C}">
                <a14:useLocalDpi xmlns:a14="http://schemas.microsoft.com/office/drawing/2010/main" val="0"/>
              </a:ext>
            </a:extLst>
          </a:blip>
          <a:srcRect l="11947" t="3038" r="10391" b="42048"/>
          <a:stretch/>
        </p:blipFill>
        <p:spPr>
          <a:xfrm>
            <a:off x="849691" y="611351"/>
            <a:ext cx="4536750" cy="4536748"/>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Tree>
    <p:extLst>
      <p:ext uri="{BB962C8B-B14F-4D97-AF65-F5344CB8AC3E}">
        <p14:creationId xmlns:p14="http://schemas.microsoft.com/office/powerpoint/2010/main" val="285199049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967BDB-19A0-285A-0F66-944185ACFA9F}"/>
              </a:ext>
            </a:extLst>
          </p:cNvPr>
          <p:cNvSpPr>
            <a:spLocks noGrp="1"/>
          </p:cNvSpPr>
          <p:nvPr>
            <p:ph type="title"/>
          </p:nvPr>
        </p:nvSpPr>
        <p:spPr/>
        <p:txBody>
          <a:bodyPr/>
          <a:lstStyle/>
          <a:p>
            <a:r>
              <a:rPr lang="en-US" dirty="0"/>
              <a:t>Agenda</a:t>
            </a:r>
          </a:p>
        </p:txBody>
      </p:sp>
      <p:sp>
        <p:nvSpPr>
          <p:cNvPr id="4" name="Slide Number Placeholder 3">
            <a:extLst>
              <a:ext uri="{FF2B5EF4-FFF2-40B4-BE49-F238E27FC236}">
                <a16:creationId xmlns:a16="http://schemas.microsoft.com/office/drawing/2014/main" id="{8692D6E5-1F4F-3463-E7DC-DEBCFBEA8887}"/>
              </a:ext>
            </a:extLst>
          </p:cNvPr>
          <p:cNvSpPr>
            <a:spLocks noGrp="1"/>
          </p:cNvSpPr>
          <p:nvPr>
            <p:ph type="sldNum" sz="quarter" idx="11"/>
          </p:nvPr>
        </p:nvSpPr>
        <p:spPr/>
        <p:txBody>
          <a:bodyPr/>
          <a:lstStyle/>
          <a:p>
            <a:fld id="{DD6C52D8-AF7F-4297-9A35-2617B7FF1801}" type="slidenum">
              <a:rPr lang="en-US" smtClean="0"/>
              <a:pPr/>
              <a:t>4</a:t>
            </a:fld>
            <a:endParaRPr lang="en-US" dirty="0"/>
          </a:p>
        </p:txBody>
      </p:sp>
      <p:graphicFrame>
        <p:nvGraphicFramePr>
          <p:cNvPr id="5" name="Diagram 4">
            <a:extLst>
              <a:ext uri="{FF2B5EF4-FFF2-40B4-BE49-F238E27FC236}">
                <a16:creationId xmlns:a16="http://schemas.microsoft.com/office/drawing/2014/main" id="{0223F6E1-9A19-1AD4-E23A-F4AD49E1E58E}"/>
              </a:ext>
            </a:extLst>
          </p:cNvPr>
          <p:cNvGraphicFramePr/>
          <p:nvPr>
            <p:extLst>
              <p:ext uri="{D42A27DB-BD31-4B8C-83A1-F6EECF244321}">
                <p14:modId xmlns:p14="http://schemas.microsoft.com/office/powerpoint/2010/main" val="2882621296"/>
              </p:ext>
            </p:extLst>
          </p:nvPr>
        </p:nvGraphicFramePr>
        <p:xfrm>
          <a:off x="1920081" y="679979"/>
          <a:ext cx="7680325" cy="512021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Footer Placeholder 2">
            <a:extLst>
              <a:ext uri="{FF2B5EF4-FFF2-40B4-BE49-F238E27FC236}">
                <a16:creationId xmlns:a16="http://schemas.microsoft.com/office/drawing/2014/main" id="{453869D5-556E-60D5-2C18-DC50A699CA1E}"/>
              </a:ext>
            </a:extLst>
          </p:cNvPr>
          <p:cNvSpPr>
            <a:spLocks noGrp="1"/>
          </p:cNvSpPr>
          <p:nvPr>
            <p:ph type="ftr" sz="quarter" idx="10"/>
          </p:nvPr>
        </p:nvSpPr>
        <p:spPr>
          <a:xfrm>
            <a:off x="972123" y="6048375"/>
            <a:ext cx="4608513" cy="179364"/>
          </a:xfrm>
        </p:spPr>
        <p:txBody>
          <a:bodyPr/>
          <a:lstStyle/>
          <a:p>
            <a:r>
              <a:rPr lang="en-US" dirty="0"/>
              <a:t>IAV  05/2025  IAVJ  DKO  Status: draft, confidential</a:t>
            </a:r>
          </a:p>
        </p:txBody>
      </p:sp>
    </p:spTree>
    <p:extLst>
      <p:ext uri="{BB962C8B-B14F-4D97-AF65-F5344CB8AC3E}">
        <p14:creationId xmlns:p14="http://schemas.microsoft.com/office/powerpoint/2010/main" val="150925393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811A5B-873D-4D46-8F7A-EBBD042427E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A1FBCD0-3B4A-6969-9728-0D79310D2C6D}"/>
              </a:ext>
            </a:extLst>
          </p:cNvPr>
          <p:cNvSpPr>
            <a:spLocks noGrp="1"/>
          </p:cNvSpPr>
          <p:nvPr>
            <p:ph type="title"/>
          </p:nvPr>
        </p:nvSpPr>
        <p:spPr/>
        <p:txBody>
          <a:bodyPr/>
          <a:lstStyle/>
          <a:p>
            <a:r>
              <a:rPr lang="en-US" dirty="0"/>
              <a:t>Agenda</a:t>
            </a:r>
          </a:p>
        </p:txBody>
      </p:sp>
      <p:sp>
        <p:nvSpPr>
          <p:cNvPr id="4" name="Slide Number Placeholder 3">
            <a:extLst>
              <a:ext uri="{FF2B5EF4-FFF2-40B4-BE49-F238E27FC236}">
                <a16:creationId xmlns:a16="http://schemas.microsoft.com/office/drawing/2014/main" id="{7ECDD4FC-8DF0-4CDD-4E2F-B5B0329F859B}"/>
              </a:ext>
            </a:extLst>
          </p:cNvPr>
          <p:cNvSpPr>
            <a:spLocks noGrp="1"/>
          </p:cNvSpPr>
          <p:nvPr>
            <p:ph type="sldNum" sz="quarter" idx="11"/>
          </p:nvPr>
        </p:nvSpPr>
        <p:spPr/>
        <p:txBody>
          <a:bodyPr/>
          <a:lstStyle/>
          <a:p>
            <a:fld id="{DD6C52D8-AF7F-4297-9A35-2617B7FF1801}" type="slidenum">
              <a:rPr lang="en-US" smtClean="0"/>
              <a:pPr/>
              <a:t>5</a:t>
            </a:fld>
            <a:endParaRPr lang="en-US" dirty="0"/>
          </a:p>
        </p:txBody>
      </p:sp>
      <p:graphicFrame>
        <p:nvGraphicFramePr>
          <p:cNvPr id="5" name="Diagram 4">
            <a:extLst>
              <a:ext uri="{FF2B5EF4-FFF2-40B4-BE49-F238E27FC236}">
                <a16:creationId xmlns:a16="http://schemas.microsoft.com/office/drawing/2014/main" id="{051031D6-590A-3D07-295E-F15E52B7F129}"/>
              </a:ext>
            </a:extLst>
          </p:cNvPr>
          <p:cNvGraphicFramePr/>
          <p:nvPr>
            <p:extLst>
              <p:ext uri="{D42A27DB-BD31-4B8C-83A1-F6EECF244321}">
                <p14:modId xmlns:p14="http://schemas.microsoft.com/office/powerpoint/2010/main" val="291385616"/>
              </p:ext>
            </p:extLst>
          </p:nvPr>
        </p:nvGraphicFramePr>
        <p:xfrm>
          <a:off x="1920081" y="679979"/>
          <a:ext cx="7680325" cy="512021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Footer Placeholder 2">
            <a:extLst>
              <a:ext uri="{FF2B5EF4-FFF2-40B4-BE49-F238E27FC236}">
                <a16:creationId xmlns:a16="http://schemas.microsoft.com/office/drawing/2014/main" id="{6F4DD7A5-3480-81F9-8485-BBB7A7375C32}"/>
              </a:ext>
            </a:extLst>
          </p:cNvPr>
          <p:cNvSpPr>
            <a:spLocks noGrp="1"/>
          </p:cNvSpPr>
          <p:nvPr>
            <p:ph type="ftr" sz="quarter" idx="10"/>
          </p:nvPr>
        </p:nvSpPr>
        <p:spPr>
          <a:xfrm>
            <a:off x="972123" y="6048375"/>
            <a:ext cx="4608513" cy="179364"/>
          </a:xfrm>
        </p:spPr>
        <p:txBody>
          <a:bodyPr/>
          <a:lstStyle/>
          <a:p>
            <a:r>
              <a:rPr lang="en-US" dirty="0"/>
              <a:t>IAV  05/2025  IAVJ  DKO  Status: draft, confidential</a:t>
            </a:r>
          </a:p>
        </p:txBody>
      </p:sp>
    </p:spTree>
    <p:extLst>
      <p:ext uri="{BB962C8B-B14F-4D97-AF65-F5344CB8AC3E}">
        <p14:creationId xmlns:p14="http://schemas.microsoft.com/office/powerpoint/2010/main" val="172944885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5C0B88-E1AC-92E0-61E1-7AB132E68C3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1EAFB28-FCEB-C951-A95B-BB7DAAC57887}"/>
              </a:ext>
            </a:extLst>
          </p:cNvPr>
          <p:cNvSpPr>
            <a:spLocks noGrp="1"/>
          </p:cNvSpPr>
          <p:nvPr>
            <p:ph type="title"/>
          </p:nvPr>
        </p:nvSpPr>
        <p:spPr/>
        <p:txBody>
          <a:bodyPr/>
          <a:lstStyle/>
          <a:p>
            <a:r>
              <a:rPr lang="en-US" dirty="0"/>
              <a:t>Overview of Automotive Threats in 2024</a:t>
            </a:r>
          </a:p>
        </p:txBody>
      </p:sp>
      <p:sp>
        <p:nvSpPr>
          <p:cNvPr id="4" name="Slide Number Placeholder 3">
            <a:extLst>
              <a:ext uri="{FF2B5EF4-FFF2-40B4-BE49-F238E27FC236}">
                <a16:creationId xmlns:a16="http://schemas.microsoft.com/office/drawing/2014/main" id="{63F58F3C-DE45-2E89-D2E6-78B2028DBBE3}"/>
              </a:ext>
            </a:extLst>
          </p:cNvPr>
          <p:cNvSpPr>
            <a:spLocks noGrp="1"/>
          </p:cNvSpPr>
          <p:nvPr>
            <p:ph type="sldNum" sz="quarter" idx="11"/>
          </p:nvPr>
        </p:nvSpPr>
        <p:spPr/>
        <p:txBody>
          <a:bodyPr/>
          <a:lstStyle/>
          <a:p>
            <a:fld id="{DD6C52D8-AF7F-4297-9A35-2617B7FF1801}" type="slidenum">
              <a:rPr lang="en-US" smtClean="0"/>
              <a:pPr/>
              <a:t>6</a:t>
            </a:fld>
            <a:endParaRPr lang="en-US" dirty="0"/>
          </a:p>
        </p:txBody>
      </p:sp>
      <p:sp>
        <p:nvSpPr>
          <p:cNvPr id="5" name="Rectangle: Rounded Corners 4">
            <a:extLst>
              <a:ext uri="{FF2B5EF4-FFF2-40B4-BE49-F238E27FC236}">
                <a16:creationId xmlns:a16="http://schemas.microsoft.com/office/drawing/2014/main" id="{29E40025-DE49-9A78-AC10-91F5BC17F137}"/>
              </a:ext>
            </a:extLst>
          </p:cNvPr>
          <p:cNvSpPr/>
          <p:nvPr/>
        </p:nvSpPr>
        <p:spPr>
          <a:xfrm>
            <a:off x="1007716" y="5316168"/>
            <a:ext cx="9397044" cy="529084"/>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lstStyle/>
          <a:p>
            <a:pPr algn="ctr">
              <a:spcBef>
                <a:spcPts val="800"/>
              </a:spcBef>
            </a:pPr>
            <a:r>
              <a:rPr lang="en-US" sz="2000" dirty="0"/>
              <a:t>Incidents targeting IT systems, IVI systems and ADAS were most prevalent</a:t>
            </a:r>
          </a:p>
        </p:txBody>
      </p:sp>
      <p:sp>
        <p:nvSpPr>
          <p:cNvPr id="6" name="TextBox 5">
            <a:extLst>
              <a:ext uri="{FF2B5EF4-FFF2-40B4-BE49-F238E27FC236}">
                <a16:creationId xmlns:a16="http://schemas.microsoft.com/office/drawing/2014/main" id="{C1896686-F0E3-6FC9-B3D7-CF63DC17C6D8}"/>
              </a:ext>
            </a:extLst>
          </p:cNvPr>
          <p:cNvSpPr txBox="1"/>
          <p:nvPr/>
        </p:nvSpPr>
        <p:spPr>
          <a:xfrm>
            <a:off x="3203960" y="6016434"/>
            <a:ext cx="9541060" cy="246671"/>
          </a:xfrm>
          <a:prstGeom prst="rect">
            <a:avLst/>
          </a:prstGeom>
          <a:noFill/>
        </p:spPr>
        <p:txBody>
          <a:bodyPr wrap="square" lIns="0" tIns="0" rIns="0" bIns="0" rtlCol="0">
            <a:spAutoFit/>
          </a:bodyPr>
          <a:lstStyle/>
          <a:p>
            <a:pPr>
              <a:lnSpc>
                <a:spcPct val="120000"/>
              </a:lnSpc>
              <a:spcBef>
                <a:spcPts val="800"/>
              </a:spcBef>
            </a:pPr>
            <a:r>
              <a:rPr lang="en-US" sz="700" dirty="0">
                <a:solidFill>
                  <a:schemeClr val="bg1">
                    <a:lumMod val="65000"/>
                  </a:schemeClr>
                </a:solidFill>
              </a:rPr>
              <a:t>Ref: </a:t>
            </a:r>
            <a:r>
              <a:rPr lang="en-US" sz="700" dirty="0" err="1">
                <a:solidFill>
                  <a:schemeClr val="bg1">
                    <a:lumMod val="65000"/>
                  </a:schemeClr>
                </a:solidFill>
              </a:rPr>
              <a:t>VicOne</a:t>
            </a:r>
            <a:r>
              <a:rPr lang="en-US" sz="700" dirty="0">
                <a:solidFill>
                  <a:schemeClr val="bg1">
                    <a:lumMod val="65000"/>
                  </a:schemeClr>
                </a:solidFill>
              </a:rPr>
              <a:t> 2025 Automotive Cybersecurity Report</a:t>
            </a:r>
            <a:br>
              <a:rPr lang="en-US" sz="700" dirty="0">
                <a:solidFill>
                  <a:schemeClr val="bg1">
                    <a:lumMod val="65000"/>
                  </a:schemeClr>
                </a:solidFill>
              </a:rPr>
            </a:br>
            <a:r>
              <a:rPr lang="en-US" sz="700" dirty="0" err="1">
                <a:solidFill>
                  <a:schemeClr val="bg1">
                    <a:lumMod val="65000"/>
                  </a:schemeClr>
                </a:solidFill>
              </a:rPr>
              <a:t>VIcOne</a:t>
            </a:r>
            <a:r>
              <a:rPr lang="en-US" sz="700" dirty="0">
                <a:solidFill>
                  <a:schemeClr val="bg1">
                    <a:lumMod val="65000"/>
                  </a:schemeClr>
                </a:solidFill>
              </a:rPr>
              <a:t> Automotive Cybersecurity Snapshot</a:t>
            </a:r>
          </a:p>
        </p:txBody>
      </p:sp>
      <p:sp>
        <p:nvSpPr>
          <p:cNvPr id="7" name="Footer Placeholder 2">
            <a:extLst>
              <a:ext uri="{FF2B5EF4-FFF2-40B4-BE49-F238E27FC236}">
                <a16:creationId xmlns:a16="http://schemas.microsoft.com/office/drawing/2014/main" id="{238D30A1-77D3-E634-09CD-DC571A5C0368}"/>
              </a:ext>
            </a:extLst>
          </p:cNvPr>
          <p:cNvSpPr>
            <a:spLocks noGrp="1"/>
          </p:cNvSpPr>
          <p:nvPr>
            <p:ph type="ftr" sz="quarter" idx="10"/>
          </p:nvPr>
        </p:nvSpPr>
        <p:spPr>
          <a:xfrm>
            <a:off x="972123" y="6048375"/>
            <a:ext cx="4608513" cy="179364"/>
          </a:xfrm>
        </p:spPr>
        <p:txBody>
          <a:bodyPr/>
          <a:lstStyle/>
          <a:p>
            <a:r>
              <a:rPr lang="en-US" dirty="0"/>
              <a:t>IAV  05/2025  IAVJ  DKO  Status: draft, confidential</a:t>
            </a:r>
          </a:p>
        </p:txBody>
      </p:sp>
      <p:graphicFrame>
        <p:nvGraphicFramePr>
          <p:cNvPr id="10" name="Chart 9">
            <a:extLst>
              <a:ext uri="{FF2B5EF4-FFF2-40B4-BE49-F238E27FC236}">
                <a16:creationId xmlns:a16="http://schemas.microsoft.com/office/drawing/2014/main" id="{ED8907BE-AA6A-D5B9-9081-2F42D4E36D1C}"/>
              </a:ext>
            </a:extLst>
          </p:cNvPr>
          <p:cNvGraphicFramePr/>
          <p:nvPr>
            <p:extLst>
              <p:ext uri="{D42A27DB-BD31-4B8C-83A1-F6EECF244321}">
                <p14:modId xmlns:p14="http://schemas.microsoft.com/office/powerpoint/2010/main" val="3730095728"/>
              </p:ext>
            </p:extLst>
          </p:nvPr>
        </p:nvGraphicFramePr>
        <p:xfrm>
          <a:off x="1303820" y="753583"/>
          <a:ext cx="8848912" cy="4479543"/>
        </p:xfrm>
        <a:graphic>
          <a:graphicData uri="http://schemas.openxmlformats.org/drawingml/2006/chart">
            <c:chart xmlns:c="http://schemas.openxmlformats.org/drawingml/2006/chart" xmlns:r="http://schemas.openxmlformats.org/officeDocument/2006/relationships" r:id="rId3"/>
          </a:graphicData>
        </a:graphic>
      </p:graphicFrame>
      <p:sp>
        <p:nvSpPr>
          <p:cNvPr id="13" name="TextBox 12">
            <a:extLst>
              <a:ext uri="{FF2B5EF4-FFF2-40B4-BE49-F238E27FC236}">
                <a16:creationId xmlns:a16="http://schemas.microsoft.com/office/drawing/2014/main" id="{6E276AC9-90A5-0851-1A2D-EE27B6A2B856}"/>
              </a:ext>
            </a:extLst>
          </p:cNvPr>
          <p:cNvSpPr txBox="1"/>
          <p:nvPr/>
        </p:nvSpPr>
        <p:spPr>
          <a:xfrm>
            <a:off x="6816375" y="-18858"/>
            <a:ext cx="3138292" cy="553998"/>
          </a:xfrm>
          <a:prstGeom prst="rect">
            <a:avLst/>
          </a:prstGeom>
          <a:noFill/>
        </p:spPr>
        <p:txBody>
          <a:bodyPr wrap="square" rtlCol="0">
            <a:spAutoFit/>
          </a:bodyPr>
          <a:lstStyle/>
          <a:p>
            <a:pPr algn="l"/>
            <a:r>
              <a:rPr lang="en-US" sz="1000" dirty="0"/>
              <a:t>ECU: Electronic Control Unit</a:t>
            </a:r>
          </a:p>
          <a:p>
            <a:pPr algn="l"/>
            <a:r>
              <a:rPr lang="en-US" sz="1000" dirty="0"/>
              <a:t>BMS: Battery Management System</a:t>
            </a:r>
          </a:p>
          <a:p>
            <a:pPr algn="l"/>
            <a:r>
              <a:rPr lang="en-US" sz="1000" dirty="0"/>
              <a:t>EV: Electric Vehicle</a:t>
            </a:r>
          </a:p>
        </p:txBody>
      </p:sp>
      <p:sp>
        <p:nvSpPr>
          <p:cNvPr id="14" name="TextBox 13">
            <a:extLst>
              <a:ext uri="{FF2B5EF4-FFF2-40B4-BE49-F238E27FC236}">
                <a16:creationId xmlns:a16="http://schemas.microsoft.com/office/drawing/2014/main" id="{39C462C7-E897-48FB-7339-2D5B94696ABA}"/>
              </a:ext>
            </a:extLst>
          </p:cNvPr>
          <p:cNvSpPr txBox="1"/>
          <p:nvPr/>
        </p:nvSpPr>
        <p:spPr>
          <a:xfrm>
            <a:off x="8928596" y="-18858"/>
            <a:ext cx="3138292" cy="400110"/>
          </a:xfrm>
          <a:prstGeom prst="rect">
            <a:avLst/>
          </a:prstGeom>
          <a:noFill/>
        </p:spPr>
        <p:txBody>
          <a:bodyPr wrap="square" rtlCol="0">
            <a:spAutoFit/>
          </a:bodyPr>
          <a:lstStyle/>
          <a:p>
            <a:pPr algn="l"/>
            <a:r>
              <a:rPr lang="en-US" sz="1000" dirty="0"/>
              <a:t>ADAS: Advanced Driver Assistance System</a:t>
            </a:r>
          </a:p>
          <a:p>
            <a:pPr algn="l"/>
            <a:r>
              <a:rPr lang="en-US" sz="1000" dirty="0"/>
              <a:t>IVI: In-Vehicle Infotainment</a:t>
            </a:r>
          </a:p>
        </p:txBody>
      </p:sp>
    </p:spTree>
    <p:extLst>
      <p:ext uri="{BB962C8B-B14F-4D97-AF65-F5344CB8AC3E}">
        <p14:creationId xmlns:p14="http://schemas.microsoft.com/office/powerpoint/2010/main" val="229082322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AC8399-9087-FBAA-45C4-963F9E5E4145}"/>
              </a:ext>
            </a:extLst>
          </p:cNvPr>
          <p:cNvSpPr>
            <a:spLocks noGrp="1"/>
          </p:cNvSpPr>
          <p:nvPr>
            <p:ph type="title"/>
          </p:nvPr>
        </p:nvSpPr>
        <p:spPr/>
        <p:txBody>
          <a:bodyPr/>
          <a:lstStyle/>
          <a:p>
            <a:r>
              <a:rPr lang="en-US" dirty="0"/>
              <a:t>Overview of Published Automotive Vulnerabilities</a:t>
            </a:r>
          </a:p>
        </p:txBody>
      </p:sp>
      <p:sp>
        <p:nvSpPr>
          <p:cNvPr id="4" name="Slide Number Placeholder 3">
            <a:extLst>
              <a:ext uri="{FF2B5EF4-FFF2-40B4-BE49-F238E27FC236}">
                <a16:creationId xmlns:a16="http://schemas.microsoft.com/office/drawing/2014/main" id="{12960880-EBA7-0BCB-66A6-8F699011C921}"/>
              </a:ext>
            </a:extLst>
          </p:cNvPr>
          <p:cNvSpPr>
            <a:spLocks noGrp="1"/>
          </p:cNvSpPr>
          <p:nvPr>
            <p:ph type="sldNum" sz="quarter" idx="11"/>
          </p:nvPr>
        </p:nvSpPr>
        <p:spPr/>
        <p:txBody>
          <a:bodyPr/>
          <a:lstStyle/>
          <a:p>
            <a:fld id="{DD6C52D8-AF7F-4297-9A35-2617B7FF1801}" type="slidenum">
              <a:rPr lang="en-US" smtClean="0"/>
              <a:pPr/>
              <a:t>7</a:t>
            </a:fld>
            <a:endParaRPr lang="en-US" dirty="0"/>
          </a:p>
        </p:txBody>
      </p:sp>
      <p:sp>
        <p:nvSpPr>
          <p:cNvPr id="5" name="Rectangle: Rounded Corners 4">
            <a:extLst>
              <a:ext uri="{FF2B5EF4-FFF2-40B4-BE49-F238E27FC236}">
                <a16:creationId xmlns:a16="http://schemas.microsoft.com/office/drawing/2014/main" id="{8245A91F-7561-D027-88C6-FB7574606602}"/>
              </a:ext>
            </a:extLst>
          </p:cNvPr>
          <p:cNvSpPr/>
          <p:nvPr/>
        </p:nvSpPr>
        <p:spPr>
          <a:xfrm>
            <a:off x="1007716" y="5316168"/>
            <a:ext cx="9397044" cy="529084"/>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lstStyle/>
          <a:p>
            <a:pPr algn="ctr">
              <a:spcBef>
                <a:spcPts val="800"/>
              </a:spcBef>
            </a:pPr>
            <a:r>
              <a:rPr lang="en-US" sz="2000" dirty="0"/>
              <a:t>Increasing number of automotive vulnerabilities published year over year</a:t>
            </a:r>
          </a:p>
        </p:txBody>
      </p:sp>
      <p:sp>
        <p:nvSpPr>
          <p:cNvPr id="6" name="TextBox 5">
            <a:extLst>
              <a:ext uri="{FF2B5EF4-FFF2-40B4-BE49-F238E27FC236}">
                <a16:creationId xmlns:a16="http://schemas.microsoft.com/office/drawing/2014/main" id="{6AB2FFA7-72E0-0526-9DFC-5E022ED02A09}"/>
              </a:ext>
            </a:extLst>
          </p:cNvPr>
          <p:cNvSpPr txBox="1"/>
          <p:nvPr/>
        </p:nvSpPr>
        <p:spPr>
          <a:xfrm>
            <a:off x="3203960" y="6016434"/>
            <a:ext cx="9541060" cy="246671"/>
          </a:xfrm>
          <a:prstGeom prst="rect">
            <a:avLst/>
          </a:prstGeom>
          <a:noFill/>
        </p:spPr>
        <p:txBody>
          <a:bodyPr wrap="square" lIns="0" tIns="0" rIns="0" bIns="0" rtlCol="0">
            <a:spAutoFit/>
          </a:bodyPr>
          <a:lstStyle/>
          <a:p>
            <a:pPr>
              <a:lnSpc>
                <a:spcPct val="120000"/>
              </a:lnSpc>
              <a:spcBef>
                <a:spcPts val="800"/>
              </a:spcBef>
            </a:pPr>
            <a:r>
              <a:rPr lang="en-US" sz="700" dirty="0">
                <a:solidFill>
                  <a:schemeClr val="bg1">
                    <a:lumMod val="65000"/>
                  </a:schemeClr>
                </a:solidFill>
              </a:rPr>
              <a:t>Ref: </a:t>
            </a:r>
            <a:r>
              <a:rPr lang="en-US" sz="700" dirty="0" err="1">
                <a:solidFill>
                  <a:schemeClr val="bg1">
                    <a:lumMod val="65000"/>
                  </a:schemeClr>
                </a:solidFill>
              </a:rPr>
              <a:t>VicOne</a:t>
            </a:r>
            <a:r>
              <a:rPr lang="en-US" sz="700" dirty="0">
                <a:solidFill>
                  <a:schemeClr val="bg1">
                    <a:lumMod val="65000"/>
                  </a:schemeClr>
                </a:solidFill>
              </a:rPr>
              <a:t> 2025 Automotive Cybersecurity Report</a:t>
            </a:r>
            <a:br>
              <a:rPr lang="en-US" sz="700" dirty="0">
                <a:solidFill>
                  <a:schemeClr val="bg1">
                    <a:lumMod val="65000"/>
                  </a:schemeClr>
                </a:solidFill>
              </a:rPr>
            </a:br>
            <a:r>
              <a:rPr lang="en-US" sz="700" dirty="0" err="1">
                <a:solidFill>
                  <a:schemeClr val="bg1">
                    <a:lumMod val="65000"/>
                  </a:schemeClr>
                </a:solidFill>
              </a:rPr>
              <a:t>VIcOne</a:t>
            </a:r>
            <a:r>
              <a:rPr lang="en-US" sz="700" dirty="0">
                <a:solidFill>
                  <a:schemeClr val="bg1">
                    <a:lumMod val="65000"/>
                  </a:schemeClr>
                </a:solidFill>
              </a:rPr>
              <a:t> Automotive Cybersecurity Snapshot</a:t>
            </a:r>
          </a:p>
        </p:txBody>
      </p:sp>
      <p:sp>
        <p:nvSpPr>
          <p:cNvPr id="7" name="Footer Placeholder 2">
            <a:extLst>
              <a:ext uri="{FF2B5EF4-FFF2-40B4-BE49-F238E27FC236}">
                <a16:creationId xmlns:a16="http://schemas.microsoft.com/office/drawing/2014/main" id="{6CB11EC3-58F9-E057-61FF-03930FF9C101}"/>
              </a:ext>
            </a:extLst>
          </p:cNvPr>
          <p:cNvSpPr>
            <a:spLocks noGrp="1"/>
          </p:cNvSpPr>
          <p:nvPr>
            <p:ph type="ftr" sz="quarter" idx="10"/>
          </p:nvPr>
        </p:nvSpPr>
        <p:spPr>
          <a:xfrm>
            <a:off x="972123" y="6048375"/>
            <a:ext cx="4608513" cy="179364"/>
          </a:xfrm>
        </p:spPr>
        <p:txBody>
          <a:bodyPr/>
          <a:lstStyle/>
          <a:p>
            <a:r>
              <a:rPr lang="en-US" dirty="0"/>
              <a:t>IAV  05/2025  IAVJ  DKO  Status: draft, confidential</a:t>
            </a:r>
          </a:p>
        </p:txBody>
      </p:sp>
      <p:graphicFrame>
        <p:nvGraphicFramePr>
          <p:cNvPr id="10" name="Chart 9">
            <a:extLst>
              <a:ext uri="{FF2B5EF4-FFF2-40B4-BE49-F238E27FC236}">
                <a16:creationId xmlns:a16="http://schemas.microsoft.com/office/drawing/2014/main" id="{4E3C06C0-FAE9-A6DC-7CA0-AD56A1ED5F22}"/>
              </a:ext>
            </a:extLst>
          </p:cNvPr>
          <p:cNvGraphicFramePr/>
          <p:nvPr>
            <p:extLst>
              <p:ext uri="{D42A27DB-BD31-4B8C-83A1-F6EECF244321}">
                <p14:modId xmlns:p14="http://schemas.microsoft.com/office/powerpoint/2010/main" val="1919059591"/>
              </p:ext>
            </p:extLst>
          </p:nvPr>
        </p:nvGraphicFramePr>
        <p:xfrm>
          <a:off x="863700" y="986423"/>
          <a:ext cx="9793088" cy="4164966"/>
        </p:xfrm>
        <a:graphic>
          <a:graphicData uri="http://schemas.openxmlformats.org/drawingml/2006/chart">
            <c:chart xmlns:c="http://schemas.openxmlformats.org/drawingml/2006/chart" xmlns:r="http://schemas.openxmlformats.org/officeDocument/2006/relationships" r:id="rId4"/>
          </a:graphicData>
        </a:graphic>
      </p:graphicFrame>
      <p:sp>
        <p:nvSpPr>
          <p:cNvPr id="19" name="Arc 18">
            <a:extLst>
              <a:ext uri="{FF2B5EF4-FFF2-40B4-BE49-F238E27FC236}">
                <a16:creationId xmlns:a16="http://schemas.microsoft.com/office/drawing/2014/main" id="{F835416F-E224-0F27-89E5-E3FCADD48B31}"/>
              </a:ext>
            </a:extLst>
          </p:cNvPr>
          <p:cNvSpPr/>
          <p:nvPr/>
        </p:nvSpPr>
        <p:spPr>
          <a:xfrm rot="6712801">
            <a:off x="8285585" y="-37590"/>
            <a:ext cx="2088232" cy="1345024"/>
          </a:xfrm>
          <a:prstGeom prst="arc">
            <a:avLst>
              <a:gd name="adj1" fmla="val 14985796"/>
              <a:gd name="adj2" fmla="val 20013999"/>
            </a:avLst>
          </a:prstGeom>
          <a:ln w="38100">
            <a:solidFill>
              <a:srgbClr val="C00000"/>
            </a:solidFill>
            <a:prstDash val="lg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0" name="symbol_Question">
            <a:extLst>
              <a:ext uri="{FF2B5EF4-FFF2-40B4-BE49-F238E27FC236}">
                <a16:creationId xmlns:a16="http://schemas.microsoft.com/office/drawing/2014/main" id="{F00DA67E-5882-9FE7-1F50-EA79268FED96}"/>
              </a:ext>
            </a:extLst>
          </p:cNvPr>
          <p:cNvSpPr>
            <a:spLocks noChangeAspect="1"/>
          </p:cNvSpPr>
          <p:nvPr>
            <p:custDataLst>
              <p:tags r:id="rId1"/>
            </p:custDataLst>
          </p:nvPr>
        </p:nvSpPr>
        <p:spPr>
          <a:xfrm>
            <a:off x="10077037" y="815241"/>
            <a:ext cx="363727" cy="654742"/>
          </a:xfrm>
          <a:custGeom>
            <a:avLst/>
            <a:gdLst>
              <a:gd name="connsiteX0" fmla="*/ 63574 w 240730"/>
              <a:gd name="connsiteY0" fmla="*/ 361328 h 433336"/>
              <a:gd name="connsiteX1" fmla="*/ 135582 w 240730"/>
              <a:gd name="connsiteY1" fmla="*/ 361328 h 433336"/>
              <a:gd name="connsiteX2" fmla="*/ 135582 w 240730"/>
              <a:gd name="connsiteY2" fmla="*/ 433336 h 433336"/>
              <a:gd name="connsiteX3" fmla="*/ 63574 w 240730"/>
              <a:gd name="connsiteY3" fmla="*/ 433336 h 433336"/>
              <a:gd name="connsiteX4" fmla="*/ 121499 w 240730"/>
              <a:gd name="connsiteY4" fmla="*/ 23 h 433336"/>
              <a:gd name="connsiteX5" fmla="*/ 153310 w 240730"/>
              <a:gd name="connsiteY5" fmla="*/ 5323 h 433336"/>
              <a:gd name="connsiteX6" fmla="*/ 235049 w 240730"/>
              <a:gd name="connsiteY6" fmla="*/ 142903 h 433336"/>
              <a:gd name="connsiteX7" fmla="*/ 144018 w 240730"/>
              <a:gd name="connsiteY7" fmla="*/ 270550 h 433336"/>
              <a:gd name="connsiteX8" fmla="*/ 135155 w 240730"/>
              <a:gd name="connsiteY8" fmla="*/ 323290 h 433336"/>
              <a:gd name="connsiteX9" fmla="*/ 63796 w 240730"/>
              <a:gd name="connsiteY9" fmla="*/ 323999 h 433336"/>
              <a:gd name="connsiteX10" fmla="*/ 73762 w 240730"/>
              <a:gd name="connsiteY10" fmla="*/ 238180 h 433336"/>
              <a:gd name="connsiteX11" fmla="*/ 150012 w 240730"/>
              <a:gd name="connsiteY11" fmla="*/ 146517 h 433336"/>
              <a:gd name="connsiteX12" fmla="*/ 116913 w 240730"/>
              <a:gd name="connsiteY12" fmla="*/ 77442 h 433336"/>
              <a:gd name="connsiteX13" fmla="*/ 53356 w 240730"/>
              <a:gd name="connsiteY13" fmla="*/ 113284 h 433336"/>
              <a:gd name="connsiteX14" fmla="*/ 0 w 240730"/>
              <a:gd name="connsiteY14" fmla="*/ 71711 h 433336"/>
              <a:gd name="connsiteX15" fmla="*/ 16547 w 240730"/>
              <a:gd name="connsiteY15" fmla="*/ 48517 h 433336"/>
              <a:gd name="connsiteX16" fmla="*/ 121499 w 240730"/>
              <a:gd name="connsiteY16" fmla="*/ 23 h 433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0730" h="433336">
                <a:moveTo>
                  <a:pt x="63574" y="361328"/>
                </a:moveTo>
                <a:lnTo>
                  <a:pt x="135582" y="361328"/>
                </a:lnTo>
                <a:lnTo>
                  <a:pt x="135582" y="433336"/>
                </a:lnTo>
                <a:lnTo>
                  <a:pt x="63574" y="433336"/>
                </a:lnTo>
                <a:close/>
                <a:moveTo>
                  <a:pt x="121499" y="23"/>
                </a:moveTo>
                <a:cubicBezTo>
                  <a:pt x="133294" y="249"/>
                  <a:pt x="144206" y="2099"/>
                  <a:pt x="153310" y="5323"/>
                </a:cubicBezTo>
                <a:cubicBezTo>
                  <a:pt x="214840" y="18219"/>
                  <a:pt x="256444" y="77600"/>
                  <a:pt x="235049" y="142903"/>
                </a:cubicBezTo>
                <a:cubicBezTo>
                  <a:pt x="219966" y="188940"/>
                  <a:pt x="160667" y="240485"/>
                  <a:pt x="144018" y="270550"/>
                </a:cubicBezTo>
                <a:cubicBezTo>
                  <a:pt x="137371" y="291437"/>
                  <a:pt x="135894" y="296735"/>
                  <a:pt x="135155" y="323290"/>
                </a:cubicBezTo>
                <a:lnTo>
                  <a:pt x="63796" y="323999"/>
                </a:lnTo>
                <a:cubicBezTo>
                  <a:pt x="63659" y="284777"/>
                  <a:pt x="59393" y="267760"/>
                  <a:pt x="73762" y="238180"/>
                </a:cubicBezTo>
                <a:cubicBezTo>
                  <a:pt x="88131" y="208599"/>
                  <a:pt x="130677" y="172038"/>
                  <a:pt x="150012" y="146517"/>
                </a:cubicBezTo>
                <a:cubicBezTo>
                  <a:pt x="166271" y="110583"/>
                  <a:pt x="156442" y="86246"/>
                  <a:pt x="116913" y="77442"/>
                </a:cubicBezTo>
                <a:cubicBezTo>
                  <a:pt x="85497" y="73936"/>
                  <a:pt x="75571" y="90347"/>
                  <a:pt x="53356" y="113284"/>
                </a:cubicBezTo>
                <a:lnTo>
                  <a:pt x="0" y="71711"/>
                </a:lnTo>
                <a:cubicBezTo>
                  <a:pt x="6254" y="64452"/>
                  <a:pt x="12" y="67167"/>
                  <a:pt x="16547" y="48517"/>
                </a:cubicBezTo>
                <a:cubicBezTo>
                  <a:pt x="42798" y="13272"/>
                  <a:pt x="86117" y="-657"/>
                  <a:pt x="121499" y="23"/>
                </a:cubicBezTo>
                <a:close/>
              </a:path>
            </a:pathLst>
          </a:custGeom>
          <a:solidFill>
            <a:srgbClr val="001A54"/>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600" dirty="0" err="1">
              <a:solidFill>
                <a:srgbClr val="001A54"/>
              </a:solidFill>
              <a:latin typeface="Arial" panose="020B0604020202020204" pitchFamily="34" charset="0"/>
              <a:cs typeface="Arial" panose="020B0604020202020204" pitchFamily="34" charset="0"/>
            </a:endParaRPr>
          </a:p>
        </p:txBody>
      </p:sp>
      <p:sp>
        <p:nvSpPr>
          <p:cNvPr id="21" name="TextBox 20">
            <a:extLst>
              <a:ext uri="{FF2B5EF4-FFF2-40B4-BE49-F238E27FC236}">
                <a16:creationId xmlns:a16="http://schemas.microsoft.com/office/drawing/2014/main" id="{2FA8B656-2B1B-CEF6-7269-87D0CD6E55F6}"/>
              </a:ext>
            </a:extLst>
          </p:cNvPr>
          <p:cNvSpPr txBox="1"/>
          <p:nvPr/>
        </p:nvSpPr>
        <p:spPr>
          <a:xfrm>
            <a:off x="8002614" y="1111210"/>
            <a:ext cx="1080120" cy="603691"/>
          </a:xfrm>
          <a:prstGeom prst="rect">
            <a:avLst/>
          </a:prstGeom>
          <a:noFill/>
        </p:spPr>
        <p:txBody>
          <a:bodyPr wrap="square" lIns="0" tIns="0" rIns="0" bIns="0" rtlCol="0">
            <a:spAutoFit/>
          </a:bodyPr>
          <a:lstStyle/>
          <a:p>
            <a:pPr algn="l">
              <a:lnSpc>
                <a:spcPct val="120000"/>
              </a:lnSpc>
              <a:spcBef>
                <a:spcPts val="800"/>
              </a:spcBef>
            </a:pPr>
            <a:r>
              <a:rPr lang="en-US" sz="3600" dirty="0"/>
              <a:t>500+</a:t>
            </a:r>
          </a:p>
        </p:txBody>
      </p:sp>
    </p:spTree>
    <p:extLst>
      <p:ext uri="{BB962C8B-B14F-4D97-AF65-F5344CB8AC3E}">
        <p14:creationId xmlns:p14="http://schemas.microsoft.com/office/powerpoint/2010/main" val="117664438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75B3C92-75D3-72EB-C2BE-FF206D37F3AE}"/>
              </a:ext>
            </a:extLst>
          </p:cNvPr>
          <p:cNvSpPr>
            <a:spLocks noGrp="1"/>
          </p:cNvSpPr>
          <p:nvPr>
            <p:ph type="title"/>
          </p:nvPr>
        </p:nvSpPr>
        <p:spPr/>
        <p:txBody>
          <a:bodyPr/>
          <a:lstStyle/>
          <a:p>
            <a:r>
              <a:rPr lang="en-US" dirty="0"/>
              <a:t>SDV Ecosystem – New Use Cases and Technologies</a:t>
            </a:r>
          </a:p>
        </p:txBody>
      </p:sp>
      <p:sp>
        <p:nvSpPr>
          <p:cNvPr id="3" name="Footer Placeholder 2">
            <a:extLst>
              <a:ext uri="{FF2B5EF4-FFF2-40B4-BE49-F238E27FC236}">
                <a16:creationId xmlns:a16="http://schemas.microsoft.com/office/drawing/2014/main" id="{FD222FED-D1FD-F428-5B53-FD71CA764B52}"/>
              </a:ext>
            </a:extLst>
          </p:cNvPr>
          <p:cNvSpPr>
            <a:spLocks noGrp="1"/>
          </p:cNvSpPr>
          <p:nvPr>
            <p:ph type="ftr" sz="quarter" idx="10"/>
          </p:nvPr>
        </p:nvSpPr>
        <p:spPr/>
        <p:txBody>
          <a:bodyPr/>
          <a:lstStyle/>
          <a:p>
            <a:r>
              <a:rPr lang="en-US" dirty="0"/>
              <a:t>IAV  05/2025  IAVJ  DKO  Status: draft, confidential</a:t>
            </a:r>
          </a:p>
        </p:txBody>
      </p:sp>
      <p:sp>
        <p:nvSpPr>
          <p:cNvPr id="4" name="Slide Number Placeholder 3">
            <a:extLst>
              <a:ext uri="{FF2B5EF4-FFF2-40B4-BE49-F238E27FC236}">
                <a16:creationId xmlns:a16="http://schemas.microsoft.com/office/drawing/2014/main" id="{946C3F21-2C9A-EFE7-6B69-8E6CD7D78B62}"/>
              </a:ext>
            </a:extLst>
          </p:cNvPr>
          <p:cNvSpPr>
            <a:spLocks noGrp="1"/>
          </p:cNvSpPr>
          <p:nvPr>
            <p:ph type="sldNum" sz="quarter" idx="11"/>
          </p:nvPr>
        </p:nvSpPr>
        <p:spPr/>
        <p:txBody>
          <a:bodyPr/>
          <a:lstStyle/>
          <a:p>
            <a:fld id="{C651C7C4-31E4-E340-822E-DEA0EA75A835}" type="slidenum">
              <a:rPr lang="en-US" smtClean="0"/>
              <a:pPr/>
              <a:t>8</a:t>
            </a:fld>
            <a:endParaRPr lang="en-US" dirty="0"/>
          </a:p>
        </p:txBody>
      </p:sp>
      <p:cxnSp>
        <p:nvCxnSpPr>
          <p:cNvPr id="15" name="Straight Arrow Connector 14">
            <a:extLst>
              <a:ext uri="{FF2B5EF4-FFF2-40B4-BE49-F238E27FC236}">
                <a16:creationId xmlns:a16="http://schemas.microsoft.com/office/drawing/2014/main" id="{BAE60CE2-FB42-2B2A-5162-7E1FAA553E8F}"/>
              </a:ext>
            </a:extLst>
          </p:cNvPr>
          <p:cNvCxnSpPr/>
          <p:nvPr/>
        </p:nvCxnSpPr>
        <p:spPr>
          <a:xfrm flipH="1" flipV="1">
            <a:off x="6828841" y="2354150"/>
            <a:ext cx="1764196" cy="1152128"/>
          </a:xfrm>
          <a:prstGeom prst="straightConnector1">
            <a:avLst/>
          </a:prstGeom>
          <a:ln w="381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D96514F5-9E91-806B-C05A-5E82C0C27F10}"/>
              </a:ext>
            </a:extLst>
          </p:cNvPr>
          <p:cNvCxnSpPr>
            <a:cxnSpLocks/>
          </p:cNvCxnSpPr>
          <p:nvPr/>
        </p:nvCxnSpPr>
        <p:spPr>
          <a:xfrm flipH="1">
            <a:off x="2545512" y="2354150"/>
            <a:ext cx="1764196" cy="1152128"/>
          </a:xfrm>
          <a:prstGeom prst="straightConnector1">
            <a:avLst/>
          </a:prstGeom>
          <a:ln w="381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 name="Rectangle: Rounded Corners 1">
            <a:extLst>
              <a:ext uri="{FF2B5EF4-FFF2-40B4-BE49-F238E27FC236}">
                <a16:creationId xmlns:a16="http://schemas.microsoft.com/office/drawing/2014/main" id="{7DE37440-D260-F91C-F2E9-7CE5D0F41A04}"/>
              </a:ext>
            </a:extLst>
          </p:cNvPr>
          <p:cNvSpPr/>
          <p:nvPr/>
        </p:nvSpPr>
        <p:spPr>
          <a:xfrm>
            <a:off x="1007716" y="5316168"/>
            <a:ext cx="9397044" cy="529084"/>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lstStyle/>
          <a:p>
            <a:pPr algn="ctr">
              <a:spcBef>
                <a:spcPts val="800"/>
              </a:spcBef>
            </a:pPr>
            <a:r>
              <a:rPr lang="en-US" sz="2000" dirty="0"/>
              <a:t>Advanced software and increased connectivity to support new SDV use cases</a:t>
            </a:r>
          </a:p>
        </p:txBody>
      </p:sp>
      <p:sp>
        <p:nvSpPr>
          <p:cNvPr id="5" name="Speech Bubble: Rectangle with Corners Rounded 4">
            <a:extLst>
              <a:ext uri="{FF2B5EF4-FFF2-40B4-BE49-F238E27FC236}">
                <a16:creationId xmlns:a16="http://schemas.microsoft.com/office/drawing/2014/main" id="{0C0B6660-AFE7-CDE6-EDC8-F6C14D0B7A69}"/>
              </a:ext>
            </a:extLst>
          </p:cNvPr>
          <p:cNvSpPr/>
          <p:nvPr/>
        </p:nvSpPr>
        <p:spPr>
          <a:xfrm>
            <a:off x="8392269" y="721642"/>
            <a:ext cx="2444539" cy="1952443"/>
          </a:xfrm>
          <a:prstGeom prst="wedgeRoundRectCallou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lstStyle/>
          <a:p>
            <a:pPr algn="l">
              <a:spcBef>
                <a:spcPts val="800"/>
              </a:spcBef>
            </a:pPr>
            <a:r>
              <a:rPr lang="en-US" sz="1600" dirty="0"/>
              <a:t>Phone as a key</a:t>
            </a:r>
          </a:p>
          <a:p>
            <a:pPr algn="l">
              <a:spcBef>
                <a:spcPts val="800"/>
              </a:spcBef>
            </a:pPr>
            <a:r>
              <a:rPr lang="en-US" sz="1600" dirty="0"/>
              <a:t>Smart parking</a:t>
            </a:r>
          </a:p>
          <a:p>
            <a:pPr algn="l">
              <a:spcBef>
                <a:spcPts val="800"/>
              </a:spcBef>
            </a:pPr>
            <a:r>
              <a:rPr lang="en-US" sz="1600" dirty="0"/>
              <a:t>Summon vehicle</a:t>
            </a:r>
          </a:p>
          <a:p>
            <a:pPr algn="l">
              <a:spcBef>
                <a:spcPts val="800"/>
              </a:spcBef>
            </a:pPr>
            <a:r>
              <a:rPr lang="en-US" sz="1600" dirty="0"/>
              <a:t>Remote diagnostics</a:t>
            </a:r>
          </a:p>
          <a:p>
            <a:pPr algn="l">
              <a:spcBef>
                <a:spcPts val="800"/>
              </a:spcBef>
            </a:pPr>
            <a:r>
              <a:rPr lang="en-US" sz="1600" dirty="0"/>
              <a:t>Vehicle management</a:t>
            </a:r>
          </a:p>
        </p:txBody>
      </p:sp>
      <p:sp>
        <p:nvSpPr>
          <p:cNvPr id="8" name="TextBox 7">
            <a:extLst>
              <a:ext uri="{FF2B5EF4-FFF2-40B4-BE49-F238E27FC236}">
                <a16:creationId xmlns:a16="http://schemas.microsoft.com/office/drawing/2014/main" id="{F8487285-A2A6-C402-693D-D773051BAEFC}"/>
              </a:ext>
            </a:extLst>
          </p:cNvPr>
          <p:cNvSpPr txBox="1"/>
          <p:nvPr/>
        </p:nvSpPr>
        <p:spPr>
          <a:xfrm>
            <a:off x="9582890" y="-1"/>
            <a:ext cx="3138292" cy="400110"/>
          </a:xfrm>
          <a:prstGeom prst="rect">
            <a:avLst/>
          </a:prstGeom>
          <a:noFill/>
        </p:spPr>
        <p:txBody>
          <a:bodyPr wrap="square" rtlCol="0">
            <a:spAutoFit/>
          </a:bodyPr>
          <a:lstStyle/>
          <a:p>
            <a:pPr algn="l"/>
            <a:r>
              <a:rPr lang="en-US" sz="1000" dirty="0"/>
              <a:t>SDV: Software-Defined Vehicle</a:t>
            </a:r>
          </a:p>
          <a:p>
            <a:pPr algn="l"/>
            <a:r>
              <a:rPr lang="en-US" sz="1000" dirty="0"/>
              <a:t>V2X: Vehicle to X</a:t>
            </a:r>
          </a:p>
        </p:txBody>
      </p:sp>
      <p:sp>
        <p:nvSpPr>
          <p:cNvPr id="10" name="Speech Bubble: Rectangle with Corners Rounded 9">
            <a:extLst>
              <a:ext uri="{FF2B5EF4-FFF2-40B4-BE49-F238E27FC236}">
                <a16:creationId xmlns:a16="http://schemas.microsoft.com/office/drawing/2014/main" id="{AA1E308B-B301-6ACC-DFF7-F34089C4504B}"/>
              </a:ext>
            </a:extLst>
          </p:cNvPr>
          <p:cNvSpPr/>
          <p:nvPr/>
        </p:nvSpPr>
        <p:spPr>
          <a:xfrm>
            <a:off x="4440748" y="2429752"/>
            <a:ext cx="2279775" cy="1620672"/>
          </a:xfrm>
          <a:prstGeom prst="wedgeRoundRectCallout">
            <a:avLst>
              <a:gd name="adj1" fmla="val 22659"/>
              <a:gd name="adj2" fmla="val 57837"/>
              <a:gd name="adj3" fmla="val 16667"/>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lstStyle/>
          <a:p>
            <a:pPr algn="l">
              <a:spcBef>
                <a:spcPts val="800"/>
              </a:spcBef>
            </a:pPr>
            <a:r>
              <a:rPr lang="en-US" sz="1600" dirty="0"/>
              <a:t>V2X</a:t>
            </a:r>
          </a:p>
          <a:p>
            <a:pPr algn="l">
              <a:spcBef>
                <a:spcPts val="800"/>
              </a:spcBef>
            </a:pPr>
            <a:r>
              <a:rPr lang="en-US" sz="1600" dirty="0"/>
              <a:t>Cellular</a:t>
            </a:r>
          </a:p>
          <a:p>
            <a:pPr algn="l">
              <a:spcBef>
                <a:spcPts val="800"/>
              </a:spcBef>
            </a:pPr>
            <a:r>
              <a:rPr lang="en-US" sz="1600" dirty="0"/>
              <a:t>Wi-Fi</a:t>
            </a:r>
          </a:p>
          <a:p>
            <a:pPr algn="l">
              <a:spcBef>
                <a:spcPts val="800"/>
              </a:spcBef>
            </a:pPr>
            <a:r>
              <a:rPr lang="en-US" sz="1600" dirty="0"/>
              <a:t>Bluetooth</a:t>
            </a:r>
          </a:p>
          <a:p>
            <a:pPr algn="l">
              <a:spcBef>
                <a:spcPts val="800"/>
              </a:spcBef>
            </a:pPr>
            <a:endParaRPr lang="en-US" sz="1600" dirty="0"/>
          </a:p>
        </p:txBody>
      </p:sp>
      <p:sp>
        <p:nvSpPr>
          <p:cNvPr id="33" name="Speech Bubble: Rectangle with Corners Rounded 32">
            <a:extLst>
              <a:ext uri="{FF2B5EF4-FFF2-40B4-BE49-F238E27FC236}">
                <a16:creationId xmlns:a16="http://schemas.microsoft.com/office/drawing/2014/main" id="{44B68BE8-0D03-C0DE-FA2F-DF425C91C978}"/>
              </a:ext>
            </a:extLst>
          </p:cNvPr>
          <p:cNvSpPr/>
          <p:nvPr/>
        </p:nvSpPr>
        <p:spPr>
          <a:xfrm>
            <a:off x="551856" y="1644921"/>
            <a:ext cx="2279775" cy="1620672"/>
          </a:xfrm>
          <a:prstGeom prst="wedgeRoundRectCallout">
            <a:avLst>
              <a:gd name="adj1" fmla="val -7785"/>
              <a:gd name="adj2" fmla="val 82309"/>
              <a:gd name="adj3" fmla="val 16667"/>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lstStyle/>
          <a:p>
            <a:pPr algn="l">
              <a:spcBef>
                <a:spcPts val="800"/>
              </a:spcBef>
            </a:pPr>
            <a:r>
              <a:rPr lang="en-US" sz="1600" dirty="0"/>
              <a:t>Applications</a:t>
            </a:r>
          </a:p>
          <a:p>
            <a:pPr algn="l">
              <a:spcBef>
                <a:spcPts val="800"/>
              </a:spcBef>
            </a:pPr>
            <a:r>
              <a:rPr lang="en-US" sz="1600" dirty="0"/>
              <a:t>Linux/Android</a:t>
            </a:r>
          </a:p>
          <a:p>
            <a:pPr algn="l">
              <a:spcBef>
                <a:spcPts val="800"/>
              </a:spcBef>
            </a:pPr>
            <a:r>
              <a:rPr lang="en-US" sz="1600" dirty="0"/>
              <a:t>AUTOSAR Adaptive</a:t>
            </a:r>
          </a:p>
          <a:p>
            <a:pPr algn="l">
              <a:spcBef>
                <a:spcPts val="800"/>
              </a:spcBef>
            </a:pPr>
            <a:r>
              <a:rPr lang="en-US" sz="1600" dirty="0"/>
              <a:t>Virtual Machines</a:t>
            </a:r>
          </a:p>
        </p:txBody>
      </p:sp>
      <p:sp>
        <p:nvSpPr>
          <p:cNvPr id="35" name="Isosceles Triangle 34">
            <a:extLst>
              <a:ext uri="{FF2B5EF4-FFF2-40B4-BE49-F238E27FC236}">
                <a16:creationId xmlns:a16="http://schemas.microsoft.com/office/drawing/2014/main" id="{7C6274F5-85DC-F363-7E4A-0B5049398BFA}"/>
              </a:ext>
            </a:extLst>
          </p:cNvPr>
          <p:cNvSpPr/>
          <p:nvPr/>
        </p:nvSpPr>
        <p:spPr>
          <a:xfrm rot="17096962">
            <a:off x="4082584" y="2600132"/>
            <a:ext cx="369427" cy="474629"/>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lstStyle/>
          <a:p>
            <a:pPr algn="l">
              <a:spcBef>
                <a:spcPts val="800"/>
              </a:spcBef>
            </a:pPr>
            <a:endParaRPr lang="en-US" sz="1600" dirty="0" err="1"/>
          </a:p>
        </p:txBody>
      </p:sp>
      <p:sp>
        <p:nvSpPr>
          <p:cNvPr id="36" name="Isosceles Triangle 35">
            <a:extLst>
              <a:ext uri="{FF2B5EF4-FFF2-40B4-BE49-F238E27FC236}">
                <a16:creationId xmlns:a16="http://schemas.microsoft.com/office/drawing/2014/main" id="{2D065AA6-BFAE-0B21-6CF3-D1880FD1F533}"/>
              </a:ext>
            </a:extLst>
          </p:cNvPr>
          <p:cNvSpPr/>
          <p:nvPr/>
        </p:nvSpPr>
        <p:spPr>
          <a:xfrm rot="4503038" flipH="1">
            <a:off x="6703328" y="2576817"/>
            <a:ext cx="369427" cy="474629"/>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lstStyle/>
          <a:p>
            <a:pPr algn="l">
              <a:spcBef>
                <a:spcPts val="800"/>
              </a:spcBef>
            </a:pPr>
            <a:endParaRPr lang="en-US" sz="1600" dirty="0" err="1"/>
          </a:p>
        </p:txBody>
      </p:sp>
      <p:cxnSp>
        <p:nvCxnSpPr>
          <p:cNvPr id="37" name="Straight Arrow Connector 36">
            <a:extLst>
              <a:ext uri="{FF2B5EF4-FFF2-40B4-BE49-F238E27FC236}">
                <a16:creationId xmlns:a16="http://schemas.microsoft.com/office/drawing/2014/main" id="{D4ADDB68-4C03-86BA-3736-D893C62C89CB}"/>
              </a:ext>
            </a:extLst>
          </p:cNvPr>
          <p:cNvCxnSpPr>
            <a:cxnSpLocks/>
          </p:cNvCxnSpPr>
          <p:nvPr/>
        </p:nvCxnSpPr>
        <p:spPr>
          <a:xfrm flipH="1">
            <a:off x="3756317" y="4356211"/>
            <a:ext cx="4007765" cy="0"/>
          </a:xfrm>
          <a:prstGeom prst="straightConnector1">
            <a:avLst/>
          </a:prstGeom>
          <a:ln w="381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2" name="IAV Vehicle">
            <a:extLst>
              <a:ext uri="{FF2B5EF4-FFF2-40B4-BE49-F238E27FC236}">
                <a16:creationId xmlns:a16="http://schemas.microsoft.com/office/drawing/2014/main" id="{0E6953BF-A8A9-BD01-4C53-B215DCC24B65}"/>
              </a:ext>
            </a:extLst>
          </p:cNvPr>
          <p:cNvSpPr>
            <a:spLocks noChangeAspect="1" noEditPoints="1"/>
          </p:cNvSpPr>
          <p:nvPr/>
        </p:nvSpPr>
        <p:spPr bwMode="auto">
          <a:xfrm>
            <a:off x="719664" y="3776532"/>
            <a:ext cx="2917732" cy="1121569"/>
          </a:xfrm>
          <a:custGeom>
            <a:avLst/>
            <a:gdLst>
              <a:gd name="T0" fmla="*/ 652 w 783"/>
              <a:gd name="T1" fmla="*/ 176 h 301"/>
              <a:gd name="T2" fmla="*/ 590 w 783"/>
              <a:gd name="T3" fmla="*/ 238 h 301"/>
              <a:gd name="T4" fmla="*/ 652 w 783"/>
              <a:gd name="T5" fmla="*/ 301 h 301"/>
              <a:gd name="T6" fmla="*/ 715 w 783"/>
              <a:gd name="T7" fmla="*/ 238 h 301"/>
              <a:gd name="T8" fmla="*/ 652 w 783"/>
              <a:gd name="T9" fmla="*/ 176 h 301"/>
              <a:gd name="T10" fmla="*/ 652 w 783"/>
              <a:gd name="T11" fmla="*/ 278 h 301"/>
              <a:gd name="T12" fmla="*/ 613 w 783"/>
              <a:gd name="T13" fmla="*/ 238 h 301"/>
              <a:gd name="T14" fmla="*/ 652 w 783"/>
              <a:gd name="T15" fmla="*/ 199 h 301"/>
              <a:gd name="T16" fmla="*/ 692 w 783"/>
              <a:gd name="T17" fmla="*/ 238 h 301"/>
              <a:gd name="T18" fmla="*/ 652 w 783"/>
              <a:gd name="T19" fmla="*/ 278 h 301"/>
              <a:gd name="T20" fmla="*/ 142 w 783"/>
              <a:gd name="T21" fmla="*/ 176 h 301"/>
              <a:gd name="T22" fmla="*/ 80 w 783"/>
              <a:gd name="T23" fmla="*/ 238 h 301"/>
              <a:gd name="T24" fmla="*/ 142 w 783"/>
              <a:gd name="T25" fmla="*/ 301 h 301"/>
              <a:gd name="T26" fmla="*/ 204 w 783"/>
              <a:gd name="T27" fmla="*/ 238 h 301"/>
              <a:gd name="T28" fmla="*/ 142 w 783"/>
              <a:gd name="T29" fmla="*/ 176 h 301"/>
              <a:gd name="T30" fmla="*/ 142 w 783"/>
              <a:gd name="T31" fmla="*/ 278 h 301"/>
              <a:gd name="T32" fmla="*/ 102 w 783"/>
              <a:gd name="T33" fmla="*/ 238 h 301"/>
              <a:gd name="T34" fmla="*/ 142 w 783"/>
              <a:gd name="T35" fmla="*/ 199 h 301"/>
              <a:gd name="T36" fmla="*/ 182 w 783"/>
              <a:gd name="T37" fmla="*/ 238 h 301"/>
              <a:gd name="T38" fmla="*/ 142 w 783"/>
              <a:gd name="T39" fmla="*/ 278 h 301"/>
              <a:gd name="T40" fmla="*/ 572 w 783"/>
              <a:gd name="T41" fmla="*/ 89 h 301"/>
              <a:gd name="T42" fmla="*/ 543 w 783"/>
              <a:gd name="T43" fmla="*/ 73 h 301"/>
              <a:gd name="T44" fmla="*/ 415 w 783"/>
              <a:gd name="T45" fmla="*/ 17 h 301"/>
              <a:gd name="T46" fmla="*/ 176 w 783"/>
              <a:gd name="T47" fmla="*/ 50 h 301"/>
              <a:gd name="T48" fmla="*/ 39 w 783"/>
              <a:gd name="T49" fmla="*/ 88 h 301"/>
              <a:gd name="T50" fmla="*/ 35 w 783"/>
              <a:gd name="T51" fmla="*/ 90 h 301"/>
              <a:gd name="T52" fmla="*/ 0 w 783"/>
              <a:gd name="T53" fmla="*/ 250 h 301"/>
              <a:gd name="T54" fmla="*/ 6 w 783"/>
              <a:gd name="T55" fmla="*/ 256 h 301"/>
              <a:gd name="T56" fmla="*/ 71 w 783"/>
              <a:gd name="T57" fmla="*/ 256 h 301"/>
              <a:gd name="T58" fmla="*/ 68 w 783"/>
              <a:gd name="T59" fmla="*/ 238 h 301"/>
              <a:gd name="T60" fmla="*/ 142 w 783"/>
              <a:gd name="T61" fmla="*/ 165 h 301"/>
              <a:gd name="T62" fmla="*/ 216 w 783"/>
              <a:gd name="T63" fmla="*/ 238 h 301"/>
              <a:gd name="T64" fmla="*/ 213 w 783"/>
              <a:gd name="T65" fmla="*/ 257 h 301"/>
              <a:gd name="T66" fmla="*/ 582 w 783"/>
              <a:gd name="T67" fmla="*/ 260 h 301"/>
              <a:gd name="T68" fmla="*/ 579 w 783"/>
              <a:gd name="T69" fmla="*/ 238 h 301"/>
              <a:gd name="T70" fmla="*/ 652 w 783"/>
              <a:gd name="T71" fmla="*/ 165 h 301"/>
              <a:gd name="T72" fmla="*/ 726 w 783"/>
              <a:gd name="T73" fmla="*/ 238 h 301"/>
              <a:gd name="T74" fmla="*/ 723 w 783"/>
              <a:gd name="T75" fmla="*/ 261 h 301"/>
              <a:gd name="T76" fmla="*/ 777 w 783"/>
              <a:gd name="T77" fmla="*/ 261 h 301"/>
              <a:gd name="T78" fmla="*/ 777 w 783"/>
              <a:gd name="T79" fmla="*/ 261 h 301"/>
              <a:gd name="T80" fmla="*/ 781 w 783"/>
              <a:gd name="T81" fmla="*/ 259 h 301"/>
              <a:gd name="T82" fmla="*/ 783 w 783"/>
              <a:gd name="T83" fmla="*/ 255 h 301"/>
              <a:gd name="T84" fmla="*/ 572 w 783"/>
              <a:gd name="T85" fmla="*/ 89 h 301"/>
              <a:gd name="T86" fmla="*/ 505 w 783"/>
              <a:gd name="T87" fmla="*/ 108 h 301"/>
              <a:gd name="T88" fmla="*/ 165 w 783"/>
              <a:gd name="T89" fmla="*/ 88 h 301"/>
              <a:gd name="T90" fmla="*/ 369 w 783"/>
              <a:gd name="T91" fmla="*/ 29 h 301"/>
              <a:gd name="T92" fmla="*/ 505 w 783"/>
              <a:gd name="T93" fmla="*/ 108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83" h="301">
                <a:moveTo>
                  <a:pt x="652" y="176"/>
                </a:moveTo>
                <a:cubicBezTo>
                  <a:pt x="618" y="176"/>
                  <a:pt x="590" y="204"/>
                  <a:pt x="590" y="238"/>
                </a:cubicBezTo>
                <a:cubicBezTo>
                  <a:pt x="590" y="273"/>
                  <a:pt x="618" y="301"/>
                  <a:pt x="652" y="301"/>
                </a:cubicBezTo>
                <a:cubicBezTo>
                  <a:pt x="687" y="301"/>
                  <a:pt x="715" y="273"/>
                  <a:pt x="715" y="238"/>
                </a:cubicBezTo>
                <a:cubicBezTo>
                  <a:pt x="715" y="204"/>
                  <a:pt x="687" y="176"/>
                  <a:pt x="652" y="176"/>
                </a:cubicBezTo>
                <a:close/>
                <a:moveTo>
                  <a:pt x="652" y="278"/>
                </a:moveTo>
                <a:cubicBezTo>
                  <a:pt x="630" y="278"/>
                  <a:pt x="613" y="260"/>
                  <a:pt x="613" y="238"/>
                </a:cubicBezTo>
                <a:cubicBezTo>
                  <a:pt x="613" y="217"/>
                  <a:pt x="630" y="199"/>
                  <a:pt x="652" y="199"/>
                </a:cubicBezTo>
                <a:cubicBezTo>
                  <a:pt x="674" y="199"/>
                  <a:pt x="692" y="217"/>
                  <a:pt x="692" y="238"/>
                </a:cubicBezTo>
                <a:cubicBezTo>
                  <a:pt x="692" y="260"/>
                  <a:pt x="674" y="278"/>
                  <a:pt x="652" y="278"/>
                </a:cubicBezTo>
                <a:close/>
                <a:moveTo>
                  <a:pt x="142" y="176"/>
                </a:moveTo>
                <a:cubicBezTo>
                  <a:pt x="108" y="176"/>
                  <a:pt x="80" y="204"/>
                  <a:pt x="80" y="238"/>
                </a:cubicBezTo>
                <a:cubicBezTo>
                  <a:pt x="80" y="273"/>
                  <a:pt x="108" y="301"/>
                  <a:pt x="142" y="301"/>
                </a:cubicBezTo>
                <a:cubicBezTo>
                  <a:pt x="176" y="301"/>
                  <a:pt x="204" y="273"/>
                  <a:pt x="204" y="238"/>
                </a:cubicBezTo>
                <a:cubicBezTo>
                  <a:pt x="204" y="204"/>
                  <a:pt x="176" y="176"/>
                  <a:pt x="142" y="176"/>
                </a:cubicBezTo>
                <a:close/>
                <a:moveTo>
                  <a:pt x="142" y="278"/>
                </a:moveTo>
                <a:cubicBezTo>
                  <a:pt x="120" y="278"/>
                  <a:pt x="102" y="260"/>
                  <a:pt x="102" y="238"/>
                </a:cubicBezTo>
                <a:cubicBezTo>
                  <a:pt x="102" y="217"/>
                  <a:pt x="120" y="199"/>
                  <a:pt x="142" y="199"/>
                </a:cubicBezTo>
                <a:cubicBezTo>
                  <a:pt x="164" y="199"/>
                  <a:pt x="182" y="217"/>
                  <a:pt x="182" y="238"/>
                </a:cubicBezTo>
                <a:cubicBezTo>
                  <a:pt x="182" y="260"/>
                  <a:pt x="164" y="278"/>
                  <a:pt x="142" y="278"/>
                </a:cubicBezTo>
                <a:close/>
                <a:moveTo>
                  <a:pt x="572" y="89"/>
                </a:moveTo>
                <a:cubicBezTo>
                  <a:pt x="568" y="88"/>
                  <a:pt x="557" y="81"/>
                  <a:pt x="543" y="73"/>
                </a:cubicBezTo>
                <a:cubicBezTo>
                  <a:pt x="512" y="55"/>
                  <a:pt x="466" y="28"/>
                  <a:pt x="415" y="17"/>
                </a:cubicBezTo>
                <a:cubicBezTo>
                  <a:pt x="332" y="0"/>
                  <a:pt x="260" y="23"/>
                  <a:pt x="176" y="50"/>
                </a:cubicBezTo>
                <a:cubicBezTo>
                  <a:pt x="133" y="64"/>
                  <a:pt x="89" y="78"/>
                  <a:pt x="39" y="88"/>
                </a:cubicBezTo>
                <a:cubicBezTo>
                  <a:pt x="37" y="88"/>
                  <a:pt x="36" y="89"/>
                  <a:pt x="35" y="90"/>
                </a:cubicBezTo>
                <a:cubicBezTo>
                  <a:pt x="34" y="93"/>
                  <a:pt x="0" y="146"/>
                  <a:pt x="0" y="250"/>
                </a:cubicBezTo>
                <a:cubicBezTo>
                  <a:pt x="0" y="253"/>
                  <a:pt x="3" y="256"/>
                  <a:pt x="6" y="256"/>
                </a:cubicBezTo>
                <a:cubicBezTo>
                  <a:pt x="71" y="256"/>
                  <a:pt x="71" y="256"/>
                  <a:pt x="71" y="256"/>
                </a:cubicBezTo>
                <a:cubicBezTo>
                  <a:pt x="69" y="251"/>
                  <a:pt x="68" y="245"/>
                  <a:pt x="68" y="238"/>
                </a:cubicBezTo>
                <a:cubicBezTo>
                  <a:pt x="68" y="198"/>
                  <a:pt x="101" y="165"/>
                  <a:pt x="142" y="165"/>
                </a:cubicBezTo>
                <a:cubicBezTo>
                  <a:pt x="183" y="165"/>
                  <a:pt x="216" y="198"/>
                  <a:pt x="216" y="238"/>
                </a:cubicBezTo>
                <a:cubicBezTo>
                  <a:pt x="216" y="245"/>
                  <a:pt x="215" y="251"/>
                  <a:pt x="213" y="257"/>
                </a:cubicBezTo>
                <a:cubicBezTo>
                  <a:pt x="582" y="260"/>
                  <a:pt x="582" y="260"/>
                  <a:pt x="582" y="260"/>
                </a:cubicBezTo>
                <a:cubicBezTo>
                  <a:pt x="580" y="253"/>
                  <a:pt x="579" y="246"/>
                  <a:pt x="579" y="238"/>
                </a:cubicBezTo>
                <a:cubicBezTo>
                  <a:pt x="579" y="198"/>
                  <a:pt x="612" y="165"/>
                  <a:pt x="652" y="165"/>
                </a:cubicBezTo>
                <a:cubicBezTo>
                  <a:pt x="693" y="165"/>
                  <a:pt x="726" y="198"/>
                  <a:pt x="726" y="238"/>
                </a:cubicBezTo>
                <a:cubicBezTo>
                  <a:pt x="726" y="246"/>
                  <a:pt x="725" y="254"/>
                  <a:pt x="723" y="261"/>
                </a:cubicBezTo>
                <a:cubicBezTo>
                  <a:pt x="777" y="261"/>
                  <a:pt x="777" y="261"/>
                  <a:pt x="777" y="261"/>
                </a:cubicBezTo>
                <a:cubicBezTo>
                  <a:pt x="777" y="261"/>
                  <a:pt x="777" y="261"/>
                  <a:pt x="777" y="261"/>
                </a:cubicBezTo>
                <a:cubicBezTo>
                  <a:pt x="778" y="261"/>
                  <a:pt x="780" y="261"/>
                  <a:pt x="781" y="259"/>
                </a:cubicBezTo>
                <a:cubicBezTo>
                  <a:pt x="782" y="258"/>
                  <a:pt x="783" y="257"/>
                  <a:pt x="783" y="255"/>
                </a:cubicBezTo>
                <a:cubicBezTo>
                  <a:pt x="783" y="147"/>
                  <a:pt x="766" y="122"/>
                  <a:pt x="572" y="89"/>
                </a:cubicBezTo>
                <a:close/>
                <a:moveTo>
                  <a:pt x="505" y="108"/>
                </a:moveTo>
                <a:cubicBezTo>
                  <a:pt x="459" y="119"/>
                  <a:pt x="165" y="88"/>
                  <a:pt x="165" y="88"/>
                </a:cubicBezTo>
                <a:cubicBezTo>
                  <a:pt x="165" y="88"/>
                  <a:pt x="279" y="29"/>
                  <a:pt x="369" y="29"/>
                </a:cubicBezTo>
                <a:cubicBezTo>
                  <a:pt x="449" y="29"/>
                  <a:pt x="546" y="98"/>
                  <a:pt x="505" y="10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grpSp>
        <p:nvGrpSpPr>
          <p:cNvPr id="14" name="easyIcon">
            <a:extLst>
              <a:ext uri="{FF2B5EF4-FFF2-40B4-BE49-F238E27FC236}">
                <a16:creationId xmlns:a16="http://schemas.microsoft.com/office/drawing/2014/main" id="{1ED9F7CE-C2B4-FC21-106E-A62F4E2D3EA3}"/>
              </a:ext>
            </a:extLst>
          </p:cNvPr>
          <p:cNvGrpSpPr>
            <a:grpSpLocks noChangeAspect="1"/>
          </p:cNvGrpSpPr>
          <p:nvPr>
            <p:custDataLst>
              <p:tags r:id="rId1"/>
            </p:custDataLst>
          </p:nvPr>
        </p:nvGrpSpPr>
        <p:grpSpPr>
          <a:xfrm>
            <a:off x="3503460" y="-432321"/>
            <a:ext cx="4525036" cy="4525036"/>
            <a:chOff x="264263" y="4620411"/>
            <a:chExt cx="1524000" cy="1524000"/>
          </a:xfrm>
        </p:grpSpPr>
        <p:sp>
          <p:nvSpPr>
            <p:cNvPr id="18" name="backgroundFixed">
              <a:extLst>
                <a:ext uri="{FF2B5EF4-FFF2-40B4-BE49-F238E27FC236}">
                  <a16:creationId xmlns:a16="http://schemas.microsoft.com/office/drawing/2014/main" id="{8DCC7189-5FFA-4C16-F09F-86B9161A5C90}"/>
                </a:ext>
              </a:extLst>
            </p:cNvPr>
            <p:cNvSpPr/>
            <p:nvPr>
              <p:custDataLst>
                <p:tags r:id="rId4"/>
              </p:custDataLst>
            </p:nvPr>
          </p:nvSpPr>
          <p:spPr>
            <a:xfrm>
              <a:off x="264263" y="4620411"/>
              <a:ext cx="1524000" cy="1524000"/>
            </a:xfrm>
            <a:prstGeom prst="rect">
              <a:avLst/>
            </a:prstGeom>
            <a:noFill/>
            <a:ln w="6350" cap="flat" cmpd="sng" algn="ctr">
              <a:noFill/>
              <a:prstDash val="solid"/>
              <a:round/>
              <a:headEnd type="none" w="med" len="med"/>
              <a:tailEnd type="none" w="med" len="med"/>
            </a:ln>
            <a:effectLst/>
            <a:extLst>
              <a:ext uri="{909E8E84-426E-40DD-AFC4-6F175D3DCCD1}">
                <a14:hiddenFill xmlns:a14="http://schemas.microsoft.com/office/drawing/2010/main">
                  <a:solidFill>
                    <a:srgbClr val="52C9FF"/>
                  </a:solidFill>
                </a14:hiddenFill>
              </a:ext>
              <a:ext uri="{91240B29-F687-4F45-9708-019B960494DF}">
                <a14:hiddenLine xmlns:a14="http://schemas.microsoft.com/office/drawing/2010/main" w="6350" cap="flat" cmpd="sng" algn="ctr">
                  <a:solidFill>
                    <a:srgbClr val="52C9F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108000" numCol="1" spcCol="0" rtlCol="0" fromWordArt="0" anchor="t" anchorCtr="0" forceAA="0" compatLnSpc="1">
              <a:prstTxWarp prst="textNoShape">
                <a:avLst/>
              </a:prstTxWarp>
              <a:noAutofit/>
            </a:bodyPr>
            <a:lstStyle/>
            <a:p>
              <a:pPr algn="l"/>
              <a:endParaRPr lang="en-US" sz="1400" b="1" dirty="0">
                <a:solidFill>
                  <a:schemeClr val="bg1"/>
                </a:solidFill>
              </a:endParaRPr>
            </a:p>
          </p:txBody>
        </p:sp>
        <p:pic>
          <p:nvPicPr>
            <p:cNvPr id="19" name="Vector">
              <a:extLst>
                <a:ext uri="{FF2B5EF4-FFF2-40B4-BE49-F238E27FC236}">
                  <a16:creationId xmlns:a16="http://schemas.microsoft.com/office/drawing/2014/main" id="{D6C12FBD-355E-FA29-C5B0-171B85C58D9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bwMode="gray">
            <a:xfrm>
              <a:off x="264263" y="4620411"/>
              <a:ext cx="1524000" cy="1524000"/>
            </a:xfrm>
            <a:prstGeom prst="rect">
              <a:avLst/>
            </a:prstGeom>
          </p:spPr>
        </p:pic>
      </p:grpSp>
      <p:grpSp>
        <p:nvGrpSpPr>
          <p:cNvPr id="20" name="easyIcon">
            <a:extLst>
              <a:ext uri="{FF2B5EF4-FFF2-40B4-BE49-F238E27FC236}">
                <a16:creationId xmlns:a16="http://schemas.microsoft.com/office/drawing/2014/main" id="{F479C514-5FC2-4163-3514-AB810E691E65}"/>
              </a:ext>
            </a:extLst>
          </p:cNvPr>
          <p:cNvGrpSpPr>
            <a:grpSpLocks noChangeAspect="1"/>
          </p:cNvGrpSpPr>
          <p:nvPr>
            <p:custDataLst>
              <p:tags r:id="rId2"/>
            </p:custDataLst>
          </p:nvPr>
        </p:nvGrpSpPr>
        <p:grpSpPr>
          <a:xfrm>
            <a:off x="8028496" y="2628019"/>
            <a:ext cx="2663988" cy="2663988"/>
            <a:chOff x="5925840" y="4248419"/>
            <a:chExt cx="720000" cy="720000"/>
          </a:xfrm>
        </p:grpSpPr>
        <p:sp>
          <p:nvSpPr>
            <p:cNvPr id="22" name="backgroundFixed">
              <a:extLst>
                <a:ext uri="{FF2B5EF4-FFF2-40B4-BE49-F238E27FC236}">
                  <a16:creationId xmlns:a16="http://schemas.microsoft.com/office/drawing/2014/main" id="{80DA1FB2-AF07-D956-D12F-6EC53C94D19D}"/>
                </a:ext>
              </a:extLst>
            </p:cNvPr>
            <p:cNvSpPr/>
            <p:nvPr>
              <p:custDataLst>
                <p:tags r:id="rId3"/>
              </p:custDataLst>
            </p:nvPr>
          </p:nvSpPr>
          <p:spPr>
            <a:xfrm>
              <a:off x="5925840" y="4248419"/>
              <a:ext cx="720000" cy="720000"/>
            </a:xfrm>
            <a:prstGeom prst="rect">
              <a:avLst/>
            </a:prstGeom>
            <a:noFill/>
            <a:ln w="6350" cap="flat" cmpd="sng" algn="ctr">
              <a:noFill/>
              <a:prstDash val="solid"/>
              <a:round/>
              <a:headEnd type="none" w="med" len="med"/>
              <a:tailEnd type="none" w="med" len="med"/>
            </a:ln>
            <a:effectLst/>
            <a:extLst>
              <a:ext uri="{909E8E84-426E-40DD-AFC4-6F175D3DCCD1}">
                <a14:hiddenFill xmlns:a14="http://schemas.microsoft.com/office/drawing/2010/main">
                  <a:solidFill>
                    <a:srgbClr val="52C9FF"/>
                  </a:solidFill>
                </a14:hiddenFill>
              </a:ext>
              <a:ext uri="{91240B29-F687-4F45-9708-019B960494DF}">
                <a14:hiddenLine xmlns:a14="http://schemas.microsoft.com/office/drawing/2010/main" w="6350" cap="flat" cmpd="sng" algn="ctr">
                  <a:solidFill>
                    <a:srgbClr val="52C9F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108000" numCol="1" spcCol="0" rtlCol="0" fromWordArt="0" anchor="t" anchorCtr="0" forceAA="0" compatLnSpc="1">
              <a:prstTxWarp prst="textNoShape">
                <a:avLst/>
              </a:prstTxWarp>
              <a:noAutofit/>
            </a:bodyPr>
            <a:lstStyle/>
            <a:p>
              <a:pPr algn="l"/>
              <a:endParaRPr lang="en-US" sz="1400" b="1" dirty="0">
                <a:solidFill>
                  <a:schemeClr val="bg1"/>
                </a:solidFill>
              </a:endParaRPr>
            </a:p>
          </p:txBody>
        </p:sp>
        <p:pic>
          <p:nvPicPr>
            <p:cNvPr id="23" name="Vector">
              <a:extLst>
                <a:ext uri="{FF2B5EF4-FFF2-40B4-BE49-F238E27FC236}">
                  <a16:creationId xmlns:a16="http://schemas.microsoft.com/office/drawing/2014/main" id="{D6236C90-B5FC-8BA1-7EF9-7ED913851CF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bwMode="gray">
            <a:xfrm>
              <a:off x="5925840" y="4248419"/>
              <a:ext cx="720000" cy="720000"/>
            </a:xfrm>
            <a:prstGeom prst="rect">
              <a:avLst/>
            </a:prstGeom>
          </p:spPr>
        </p:pic>
      </p:grpSp>
    </p:spTree>
    <p:extLst>
      <p:ext uri="{BB962C8B-B14F-4D97-AF65-F5344CB8AC3E}">
        <p14:creationId xmlns:p14="http://schemas.microsoft.com/office/powerpoint/2010/main" val="214336825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95E9F6-A622-B759-9AA8-46BD7D9084E1}"/>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C9453F84-5B78-46E4-F9CC-1D198F0C1EC6}"/>
              </a:ext>
            </a:extLst>
          </p:cNvPr>
          <p:cNvSpPr>
            <a:spLocks noGrp="1"/>
          </p:cNvSpPr>
          <p:nvPr>
            <p:ph type="title"/>
          </p:nvPr>
        </p:nvSpPr>
        <p:spPr/>
        <p:txBody>
          <a:bodyPr/>
          <a:lstStyle/>
          <a:p>
            <a:r>
              <a:rPr lang="en-US" dirty="0"/>
              <a:t>Increased Attack Surface</a:t>
            </a:r>
          </a:p>
        </p:txBody>
      </p:sp>
      <p:sp>
        <p:nvSpPr>
          <p:cNvPr id="3" name="Footer Placeholder 2">
            <a:extLst>
              <a:ext uri="{FF2B5EF4-FFF2-40B4-BE49-F238E27FC236}">
                <a16:creationId xmlns:a16="http://schemas.microsoft.com/office/drawing/2014/main" id="{64D6A7FA-4529-8E40-AEA2-34B83A4AECA4}"/>
              </a:ext>
            </a:extLst>
          </p:cNvPr>
          <p:cNvSpPr>
            <a:spLocks noGrp="1"/>
          </p:cNvSpPr>
          <p:nvPr>
            <p:ph type="ftr" sz="quarter" idx="10"/>
          </p:nvPr>
        </p:nvSpPr>
        <p:spPr/>
        <p:txBody>
          <a:bodyPr/>
          <a:lstStyle/>
          <a:p>
            <a:r>
              <a:rPr lang="en-US" dirty="0"/>
              <a:t>IAV  05/2025  IAVJ  DKO  Status: draft, confidential</a:t>
            </a:r>
          </a:p>
        </p:txBody>
      </p:sp>
      <p:sp>
        <p:nvSpPr>
          <p:cNvPr id="4" name="Slide Number Placeholder 3">
            <a:extLst>
              <a:ext uri="{FF2B5EF4-FFF2-40B4-BE49-F238E27FC236}">
                <a16:creationId xmlns:a16="http://schemas.microsoft.com/office/drawing/2014/main" id="{6E0A262C-D67B-CB9A-E936-7F38E5FC04BB}"/>
              </a:ext>
            </a:extLst>
          </p:cNvPr>
          <p:cNvSpPr>
            <a:spLocks noGrp="1"/>
          </p:cNvSpPr>
          <p:nvPr>
            <p:ph type="sldNum" sz="quarter" idx="11"/>
          </p:nvPr>
        </p:nvSpPr>
        <p:spPr/>
        <p:txBody>
          <a:bodyPr/>
          <a:lstStyle/>
          <a:p>
            <a:fld id="{C651C7C4-31E4-E340-822E-DEA0EA75A835}" type="slidenum">
              <a:rPr lang="en-US" smtClean="0"/>
              <a:pPr/>
              <a:t>9</a:t>
            </a:fld>
            <a:endParaRPr lang="en-US" dirty="0"/>
          </a:p>
        </p:txBody>
      </p:sp>
      <p:cxnSp>
        <p:nvCxnSpPr>
          <p:cNvPr id="15" name="Straight Arrow Connector 14">
            <a:extLst>
              <a:ext uri="{FF2B5EF4-FFF2-40B4-BE49-F238E27FC236}">
                <a16:creationId xmlns:a16="http://schemas.microsoft.com/office/drawing/2014/main" id="{788B357B-B346-33DF-20CB-9FB24A599D53}"/>
              </a:ext>
            </a:extLst>
          </p:cNvPr>
          <p:cNvCxnSpPr/>
          <p:nvPr/>
        </p:nvCxnSpPr>
        <p:spPr>
          <a:xfrm flipH="1" flipV="1">
            <a:off x="6828841" y="2354150"/>
            <a:ext cx="1764196" cy="1152128"/>
          </a:xfrm>
          <a:prstGeom prst="straightConnector1">
            <a:avLst/>
          </a:prstGeom>
          <a:ln w="381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DF021747-F3F9-CC43-2347-48EA81BD9839}"/>
              </a:ext>
            </a:extLst>
          </p:cNvPr>
          <p:cNvCxnSpPr>
            <a:cxnSpLocks/>
          </p:cNvCxnSpPr>
          <p:nvPr/>
        </p:nvCxnSpPr>
        <p:spPr>
          <a:xfrm flipH="1">
            <a:off x="2545512" y="2354150"/>
            <a:ext cx="1764196" cy="1152128"/>
          </a:xfrm>
          <a:prstGeom prst="straightConnector1">
            <a:avLst/>
          </a:prstGeom>
          <a:ln w="381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 name="Rectangle: Rounded Corners 1">
            <a:extLst>
              <a:ext uri="{FF2B5EF4-FFF2-40B4-BE49-F238E27FC236}">
                <a16:creationId xmlns:a16="http://schemas.microsoft.com/office/drawing/2014/main" id="{3EAFB82C-CCF8-C5BD-7596-21E009AE839C}"/>
              </a:ext>
            </a:extLst>
          </p:cNvPr>
          <p:cNvSpPr/>
          <p:nvPr/>
        </p:nvSpPr>
        <p:spPr>
          <a:xfrm>
            <a:off x="1007716" y="5316168"/>
            <a:ext cx="9397044" cy="529084"/>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lstStyle/>
          <a:p>
            <a:pPr algn="ctr">
              <a:spcBef>
                <a:spcPts val="800"/>
              </a:spcBef>
            </a:pPr>
            <a:r>
              <a:rPr lang="en-US" sz="2000" dirty="0"/>
              <a:t>Advanced software and increased connectivity lead to increased attack surface</a:t>
            </a:r>
          </a:p>
        </p:txBody>
      </p:sp>
      <p:sp>
        <p:nvSpPr>
          <p:cNvPr id="5" name="Speech Bubble: Rectangle with Corners Rounded 4">
            <a:extLst>
              <a:ext uri="{FF2B5EF4-FFF2-40B4-BE49-F238E27FC236}">
                <a16:creationId xmlns:a16="http://schemas.microsoft.com/office/drawing/2014/main" id="{31AEC02F-FE39-032E-978B-0C2A1D9FFCEF}"/>
              </a:ext>
            </a:extLst>
          </p:cNvPr>
          <p:cNvSpPr/>
          <p:nvPr/>
        </p:nvSpPr>
        <p:spPr>
          <a:xfrm>
            <a:off x="8392268" y="721642"/>
            <a:ext cx="2871216" cy="1952443"/>
          </a:xfrm>
          <a:prstGeom prst="wedgeRoundRectCallou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lstStyle/>
          <a:p>
            <a:pPr algn="l">
              <a:spcBef>
                <a:spcPts val="800"/>
              </a:spcBef>
            </a:pPr>
            <a:r>
              <a:rPr lang="en-US" sz="1600" dirty="0"/>
              <a:t>Reverse-engineering of mobile apps</a:t>
            </a:r>
          </a:p>
          <a:p>
            <a:pPr algn="l">
              <a:spcBef>
                <a:spcPts val="800"/>
              </a:spcBef>
            </a:pPr>
            <a:r>
              <a:rPr lang="en-US" sz="1600" dirty="0"/>
              <a:t>Session hijacking/Man-in-the-middle attacks</a:t>
            </a:r>
          </a:p>
          <a:p>
            <a:pPr algn="l">
              <a:spcBef>
                <a:spcPts val="800"/>
              </a:spcBef>
            </a:pPr>
            <a:r>
              <a:rPr lang="en-US" sz="1600" dirty="0"/>
              <a:t>Unauthorized access to mobile app’s memory</a:t>
            </a:r>
          </a:p>
        </p:txBody>
      </p:sp>
      <p:sp>
        <p:nvSpPr>
          <p:cNvPr id="8" name="TextBox 7">
            <a:extLst>
              <a:ext uri="{FF2B5EF4-FFF2-40B4-BE49-F238E27FC236}">
                <a16:creationId xmlns:a16="http://schemas.microsoft.com/office/drawing/2014/main" id="{EA151593-2783-B729-BF0A-87522BB928B3}"/>
              </a:ext>
            </a:extLst>
          </p:cNvPr>
          <p:cNvSpPr txBox="1"/>
          <p:nvPr/>
        </p:nvSpPr>
        <p:spPr>
          <a:xfrm>
            <a:off x="9123338" y="-1"/>
            <a:ext cx="3138292" cy="400110"/>
          </a:xfrm>
          <a:prstGeom prst="rect">
            <a:avLst/>
          </a:prstGeom>
          <a:noFill/>
        </p:spPr>
        <p:txBody>
          <a:bodyPr wrap="square" rtlCol="0">
            <a:spAutoFit/>
          </a:bodyPr>
          <a:lstStyle/>
          <a:p>
            <a:pPr algn="l"/>
            <a:r>
              <a:rPr lang="en-US" sz="1000" dirty="0"/>
              <a:t>SDV: Software-Defined Vehicle</a:t>
            </a:r>
          </a:p>
          <a:p>
            <a:pPr algn="l"/>
            <a:r>
              <a:rPr lang="en-US" sz="1000" dirty="0"/>
              <a:t>API: Application Programming Interface</a:t>
            </a:r>
          </a:p>
        </p:txBody>
      </p:sp>
      <p:sp>
        <p:nvSpPr>
          <p:cNvPr id="10" name="Speech Bubble: Rectangle with Corners Rounded 9">
            <a:extLst>
              <a:ext uri="{FF2B5EF4-FFF2-40B4-BE49-F238E27FC236}">
                <a16:creationId xmlns:a16="http://schemas.microsoft.com/office/drawing/2014/main" id="{CF34FA7B-DF46-A7AB-C57A-4A569B62DA87}"/>
              </a:ext>
            </a:extLst>
          </p:cNvPr>
          <p:cNvSpPr/>
          <p:nvPr/>
        </p:nvSpPr>
        <p:spPr>
          <a:xfrm>
            <a:off x="4332430" y="2354151"/>
            <a:ext cx="2496412" cy="1792926"/>
          </a:xfrm>
          <a:prstGeom prst="wedgeRoundRectCallout">
            <a:avLst>
              <a:gd name="adj1" fmla="val 22659"/>
              <a:gd name="adj2" fmla="val 57837"/>
              <a:gd name="adj3" fmla="val 16667"/>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lstStyle/>
          <a:p>
            <a:pPr algn="l">
              <a:spcBef>
                <a:spcPts val="800"/>
              </a:spcBef>
            </a:pPr>
            <a:r>
              <a:rPr lang="en-US" sz="1600" dirty="0"/>
              <a:t>API abuse</a:t>
            </a:r>
          </a:p>
          <a:p>
            <a:pPr algn="l">
              <a:spcBef>
                <a:spcPts val="800"/>
              </a:spcBef>
            </a:pPr>
            <a:r>
              <a:rPr lang="en-US" sz="1600" dirty="0"/>
              <a:t>Data leakage of vehicle/user data</a:t>
            </a:r>
          </a:p>
          <a:p>
            <a:pPr algn="l">
              <a:spcBef>
                <a:spcPts val="800"/>
              </a:spcBef>
            </a:pPr>
            <a:r>
              <a:rPr lang="en-US" sz="1600" dirty="0"/>
              <a:t>Unauthorized access</a:t>
            </a:r>
          </a:p>
          <a:p>
            <a:pPr algn="l">
              <a:spcBef>
                <a:spcPts val="800"/>
              </a:spcBef>
            </a:pPr>
            <a:r>
              <a:rPr lang="en-US" sz="1600" dirty="0" err="1"/>
              <a:t>Bruteforce</a:t>
            </a:r>
            <a:r>
              <a:rPr lang="en-US" sz="1600" dirty="0"/>
              <a:t> attempts</a:t>
            </a:r>
          </a:p>
        </p:txBody>
      </p:sp>
      <p:cxnSp>
        <p:nvCxnSpPr>
          <p:cNvPr id="12" name="Straight Arrow Connector 11">
            <a:extLst>
              <a:ext uri="{FF2B5EF4-FFF2-40B4-BE49-F238E27FC236}">
                <a16:creationId xmlns:a16="http://schemas.microsoft.com/office/drawing/2014/main" id="{66EE8AC9-C17C-E7DF-9418-F00B1589B93F}"/>
              </a:ext>
            </a:extLst>
          </p:cNvPr>
          <p:cNvCxnSpPr>
            <a:cxnSpLocks/>
          </p:cNvCxnSpPr>
          <p:nvPr/>
        </p:nvCxnSpPr>
        <p:spPr>
          <a:xfrm flipH="1">
            <a:off x="3756317" y="4356211"/>
            <a:ext cx="4007765" cy="0"/>
          </a:xfrm>
          <a:prstGeom prst="straightConnector1">
            <a:avLst/>
          </a:prstGeom>
          <a:ln w="381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3" name="Speech Bubble: Rectangle with Corners Rounded 32">
            <a:extLst>
              <a:ext uri="{FF2B5EF4-FFF2-40B4-BE49-F238E27FC236}">
                <a16:creationId xmlns:a16="http://schemas.microsoft.com/office/drawing/2014/main" id="{A5A3A2A8-D236-D85B-3FFF-31F86756E380}"/>
              </a:ext>
            </a:extLst>
          </p:cNvPr>
          <p:cNvSpPr/>
          <p:nvPr/>
        </p:nvSpPr>
        <p:spPr>
          <a:xfrm>
            <a:off x="551856" y="1170265"/>
            <a:ext cx="2279775" cy="2095328"/>
          </a:xfrm>
          <a:prstGeom prst="wedgeRoundRectCallout">
            <a:avLst>
              <a:gd name="adj1" fmla="val -7785"/>
              <a:gd name="adj2" fmla="val 82309"/>
              <a:gd name="adj3" fmla="val 16667"/>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lstStyle/>
          <a:p>
            <a:pPr>
              <a:spcBef>
                <a:spcPts val="800"/>
              </a:spcBef>
            </a:pPr>
            <a:r>
              <a:rPr lang="en-US" sz="1600" dirty="0"/>
              <a:t>Exploit software vulnerabilities</a:t>
            </a:r>
          </a:p>
          <a:p>
            <a:pPr algn="l">
              <a:spcBef>
                <a:spcPts val="800"/>
              </a:spcBef>
            </a:pPr>
            <a:r>
              <a:rPr lang="en-US" sz="1600" dirty="0"/>
              <a:t>Replay attacks</a:t>
            </a:r>
          </a:p>
          <a:p>
            <a:pPr algn="l">
              <a:spcBef>
                <a:spcPts val="800"/>
              </a:spcBef>
            </a:pPr>
            <a:r>
              <a:rPr lang="en-US" sz="1600" dirty="0"/>
              <a:t>Spoofing</a:t>
            </a:r>
          </a:p>
          <a:p>
            <a:pPr algn="l">
              <a:spcBef>
                <a:spcPts val="800"/>
              </a:spcBef>
            </a:pPr>
            <a:r>
              <a:rPr lang="en-US" sz="1600" dirty="0"/>
              <a:t>Bypass/break weak authentication</a:t>
            </a:r>
          </a:p>
        </p:txBody>
      </p:sp>
      <p:sp>
        <p:nvSpPr>
          <p:cNvPr id="35" name="Isosceles Triangle 34">
            <a:extLst>
              <a:ext uri="{FF2B5EF4-FFF2-40B4-BE49-F238E27FC236}">
                <a16:creationId xmlns:a16="http://schemas.microsoft.com/office/drawing/2014/main" id="{0E279477-8042-1510-6FE2-633D8F7A27C4}"/>
              </a:ext>
            </a:extLst>
          </p:cNvPr>
          <p:cNvSpPr/>
          <p:nvPr/>
        </p:nvSpPr>
        <p:spPr>
          <a:xfrm rot="17096962">
            <a:off x="4082584" y="2600132"/>
            <a:ext cx="369427" cy="474629"/>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lstStyle/>
          <a:p>
            <a:pPr algn="l">
              <a:spcBef>
                <a:spcPts val="800"/>
              </a:spcBef>
            </a:pPr>
            <a:endParaRPr lang="en-US" sz="1600" dirty="0" err="1"/>
          </a:p>
        </p:txBody>
      </p:sp>
      <p:sp>
        <p:nvSpPr>
          <p:cNvPr id="36" name="Isosceles Triangle 35">
            <a:extLst>
              <a:ext uri="{FF2B5EF4-FFF2-40B4-BE49-F238E27FC236}">
                <a16:creationId xmlns:a16="http://schemas.microsoft.com/office/drawing/2014/main" id="{153C3232-5DD3-7083-8821-020F38FB2303}"/>
              </a:ext>
            </a:extLst>
          </p:cNvPr>
          <p:cNvSpPr/>
          <p:nvPr/>
        </p:nvSpPr>
        <p:spPr>
          <a:xfrm rot="4503038" flipH="1">
            <a:off x="6703328" y="2576817"/>
            <a:ext cx="369427" cy="474629"/>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lstStyle/>
          <a:p>
            <a:pPr algn="l">
              <a:spcBef>
                <a:spcPts val="800"/>
              </a:spcBef>
            </a:pPr>
            <a:endParaRPr lang="en-US" sz="1600" dirty="0" err="1"/>
          </a:p>
        </p:txBody>
      </p:sp>
      <p:sp>
        <p:nvSpPr>
          <p:cNvPr id="14" name="IAV Vehicle">
            <a:extLst>
              <a:ext uri="{FF2B5EF4-FFF2-40B4-BE49-F238E27FC236}">
                <a16:creationId xmlns:a16="http://schemas.microsoft.com/office/drawing/2014/main" id="{07F72C2E-C566-8F60-7A20-AFFAB502B831}"/>
              </a:ext>
            </a:extLst>
          </p:cNvPr>
          <p:cNvSpPr>
            <a:spLocks noChangeAspect="1" noEditPoints="1"/>
          </p:cNvSpPr>
          <p:nvPr/>
        </p:nvSpPr>
        <p:spPr bwMode="auto">
          <a:xfrm>
            <a:off x="719664" y="3776532"/>
            <a:ext cx="2917732" cy="1121569"/>
          </a:xfrm>
          <a:custGeom>
            <a:avLst/>
            <a:gdLst>
              <a:gd name="T0" fmla="*/ 652 w 783"/>
              <a:gd name="T1" fmla="*/ 176 h 301"/>
              <a:gd name="T2" fmla="*/ 590 w 783"/>
              <a:gd name="T3" fmla="*/ 238 h 301"/>
              <a:gd name="T4" fmla="*/ 652 w 783"/>
              <a:gd name="T5" fmla="*/ 301 h 301"/>
              <a:gd name="T6" fmla="*/ 715 w 783"/>
              <a:gd name="T7" fmla="*/ 238 h 301"/>
              <a:gd name="T8" fmla="*/ 652 w 783"/>
              <a:gd name="T9" fmla="*/ 176 h 301"/>
              <a:gd name="T10" fmla="*/ 652 w 783"/>
              <a:gd name="T11" fmla="*/ 278 h 301"/>
              <a:gd name="T12" fmla="*/ 613 w 783"/>
              <a:gd name="T13" fmla="*/ 238 h 301"/>
              <a:gd name="T14" fmla="*/ 652 w 783"/>
              <a:gd name="T15" fmla="*/ 199 h 301"/>
              <a:gd name="T16" fmla="*/ 692 w 783"/>
              <a:gd name="T17" fmla="*/ 238 h 301"/>
              <a:gd name="T18" fmla="*/ 652 w 783"/>
              <a:gd name="T19" fmla="*/ 278 h 301"/>
              <a:gd name="T20" fmla="*/ 142 w 783"/>
              <a:gd name="T21" fmla="*/ 176 h 301"/>
              <a:gd name="T22" fmla="*/ 80 w 783"/>
              <a:gd name="T23" fmla="*/ 238 h 301"/>
              <a:gd name="T24" fmla="*/ 142 w 783"/>
              <a:gd name="T25" fmla="*/ 301 h 301"/>
              <a:gd name="T26" fmla="*/ 204 w 783"/>
              <a:gd name="T27" fmla="*/ 238 h 301"/>
              <a:gd name="T28" fmla="*/ 142 w 783"/>
              <a:gd name="T29" fmla="*/ 176 h 301"/>
              <a:gd name="T30" fmla="*/ 142 w 783"/>
              <a:gd name="T31" fmla="*/ 278 h 301"/>
              <a:gd name="T32" fmla="*/ 102 w 783"/>
              <a:gd name="T33" fmla="*/ 238 h 301"/>
              <a:gd name="T34" fmla="*/ 142 w 783"/>
              <a:gd name="T35" fmla="*/ 199 h 301"/>
              <a:gd name="T36" fmla="*/ 182 w 783"/>
              <a:gd name="T37" fmla="*/ 238 h 301"/>
              <a:gd name="T38" fmla="*/ 142 w 783"/>
              <a:gd name="T39" fmla="*/ 278 h 301"/>
              <a:gd name="T40" fmla="*/ 572 w 783"/>
              <a:gd name="T41" fmla="*/ 89 h 301"/>
              <a:gd name="T42" fmla="*/ 543 w 783"/>
              <a:gd name="T43" fmla="*/ 73 h 301"/>
              <a:gd name="T44" fmla="*/ 415 w 783"/>
              <a:gd name="T45" fmla="*/ 17 h 301"/>
              <a:gd name="T46" fmla="*/ 176 w 783"/>
              <a:gd name="T47" fmla="*/ 50 h 301"/>
              <a:gd name="T48" fmla="*/ 39 w 783"/>
              <a:gd name="T49" fmla="*/ 88 h 301"/>
              <a:gd name="T50" fmla="*/ 35 w 783"/>
              <a:gd name="T51" fmla="*/ 90 h 301"/>
              <a:gd name="T52" fmla="*/ 0 w 783"/>
              <a:gd name="T53" fmla="*/ 250 h 301"/>
              <a:gd name="T54" fmla="*/ 6 w 783"/>
              <a:gd name="T55" fmla="*/ 256 h 301"/>
              <a:gd name="T56" fmla="*/ 71 w 783"/>
              <a:gd name="T57" fmla="*/ 256 h 301"/>
              <a:gd name="T58" fmla="*/ 68 w 783"/>
              <a:gd name="T59" fmla="*/ 238 h 301"/>
              <a:gd name="T60" fmla="*/ 142 w 783"/>
              <a:gd name="T61" fmla="*/ 165 h 301"/>
              <a:gd name="T62" fmla="*/ 216 w 783"/>
              <a:gd name="T63" fmla="*/ 238 h 301"/>
              <a:gd name="T64" fmla="*/ 213 w 783"/>
              <a:gd name="T65" fmla="*/ 257 h 301"/>
              <a:gd name="T66" fmla="*/ 582 w 783"/>
              <a:gd name="T67" fmla="*/ 260 h 301"/>
              <a:gd name="T68" fmla="*/ 579 w 783"/>
              <a:gd name="T69" fmla="*/ 238 h 301"/>
              <a:gd name="T70" fmla="*/ 652 w 783"/>
              <a:gd name="T71" fmla="*/ 165 h 301"/>
              <a:gd name="T72" fmla="*/ 726 w 783"/>
              <a:gd name="T73" fmla="*/ 238 h 301"/>
              <a:gd name="T74" fmla="*/ 723 w 783"/>
              <a:gd name="T75" fmla="*/ 261 h 301"/>
              <a:gd name="T76" fmla="*/ 777 w 783"/>
              <a:gd name="T77" fmla="*/ 261 h 301"/>
              <a:gd name="T78" fmla="*/ 777 w 783"/>
              <a:gd name="T79" fmla="*/ 261 h 301"/>
              <a:gd name="T80" fmla="*/ 781 w 783"/>
              <a:gd name="T81" fmla="*/ 259 h 301"/>
              <a:gd name="T82" fmla="*/ 783 w 783"/>
              <a:gd name="T83" fmla="*/ 255 h 301"/>
              <a:gd name="T84" fmla="*/ 572 w 783"/>
              <a:gd name="T85" fmla="*/ 89 h 301"/>
              <a:gd name="T86" fmla="*/ 505 w 783"/>
              <a:gd name="T87" fmla="*/ 108 h 301"/>
              <a:gd name="T88" fmla="*/ 165 w 783"/>
              <a:gd name="T89" fmla="*/ 88 h 301"/>
              <a:gd name="T90" fmla="*/ 369 w 783"/>
              <a:gd name="T91" fmla="*/ 29 h 301"/>
              <a:gd name="T92" fmla="*/ 505 w 783"/>
              <a:gd name="T93" fmla="*/ 108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83" h="301">
                <a:moveTo>
                  <a:pt x="652" y="176"/>
                </a:moveTo>
                <a:cubicBezTo>
                  <a:pt x="618" y="176"/>
                  <a:pt x="590" y="204"/>
                  <a:pt x="590" y="238"/>
                </a:cubicBezTo>
                <a:cubicBezTo>
                  <a:pt x="590" y="273"/>
                  <a:pt x="618" y="301"/>
                  <a:pt x="652" y="301"/>
                </a:cubicBezTo>
                <a:cubicBezTo>
                  <a:pt x="687" y="301"/>
                  <a:pt x="715" y="273"/>
                  <a:pt x="715" y="238"/>
                </a:cubicBezTo>
                <a:cubicBezTo>
                  <a:pt x="715" y="204"/>
                  <a:pt x="687" y="176"/>
                  <a:pt x="652" y="176"/>
                </a:cubicBezTo>
                <a:close/>
                <a:moveTo>
                  <a:pt x="652" y="278"/>
                </a:moveTo>
                <a:cubicBezTo>
                  <a:pt x="630" y="278"/>
                  <a:pt x="613" y="260"/>
                  <a:pt x="613" y="238"/>
                </a:cubicBezTo>
                <a:cubicBezTo>
                  <a:pt x="613" y="217"/>
                  <a:pt x="630" y="199"/>
                  <a:pt x="652" y="199"/>
                </a:cubicBezTo>
                <a:cubicBezTo>
                  <a:pt x="674" y="199"/>
                  <a:pt x="692" y="217"/>
                  <a:pt x="692" y="238"/>
                </a:cubicBezTo>
                <a:cubicBezTo>
                  <a:pt x="692" y="260"/>
                  <a:pt x="674" y="278"/>
                  <a:pt x="652" y="278"/>
                </a:cubicBezTo>
                <a:close/>
                <a:moveTo>
                  <a:pt x="142" y="176"/>
                </a:moveTo>
                <a:cubicBezTo>
                  <a:pt x="108" y="176"/>
                  <a:pt x="80" y="204"/>
                  <a:pt x="80" y="238"/>
                </a:cubicBezTo>
                <a:cubicBezTo>
                  <a:pt x="80" y="273"/>
                  <a:pt x="108" y="301"/>
                  <a:pt x="142" y="301"/>
                </a:cubicBezTo>
                <a:cubicBezTo>
                  <a:pt x="176" y="301"/>
                  <a:pt x="204" y="273"/>
                  <a:pt x="204" y="238"/>
                </a:cubicBezTo>
                <a:cubicBezTo>
                  <a:pt x="204" y="204"/>
                  <a:pt x="176" y="176"/>
                  <a:pt x="142" y="176"/>
                </a:cubicBezTo>
                <a:close/>
                <a:moveTo>
                  <a:pt x="142" y="278"/>
                </a:moveTo>
                <a:cubicBezTo>
                  <a:pt x="120" y="278"/>
                  <a:pt x="102" y="260"/>
                  <a:pt x="102" y="238"/>
                </a:cubicBezTo>
                <a:cubicBezTo>
                  <a:pt x="102" y="217"/>
                  <a:pt x="120" y="199"/>
                  <a:pt x="142" y="199"/>
                </a:cubicBezTo>
                <a:cubicBezTo>
                  <a:pt x="164" y="199"/>
                  <a:pt x="182" y="217"/>
                  <a:pt x="182" y="238"/>
                </a:cubicBezTo>
                <a:cubicBezTo>
                  <a:pt x="182" y="260"/>
                  <a:pt x="164" y="278"/>
                  <a:pt x="142" y="278"/>
                </a:cubicBezTo>
                <a:close/>
                <a:moveTo>
                  <a:pt x="572" y="89"/>
                </a:moveTo>
                <a:cubicBezTo>
                  <a:pt x="568" y="88"/>
                  <a:pt x="557" y="81"/>
                  <a:pt x="543" y="73"/>
                </a:cubicBezTo>
                <a:cubicBezTo>
                  <a:pt x="512" y="55"/>
                  <a:pt x="466" y="28"/>
                  <a:pt x="415" y="17"/>
                </a:cubicBezTo>
                <a:cubicBezTo>
                  <a:pt x="332" y="0"/>
                  <a:pt x="260" y="23"/>
                  <a:pt x="176" y="50"/>
                </a:cubicBezTo>
                <a:cubicBezTo>
                  <a:pt x="133" y="64"/>
                  <a:pt x="89" y="78"/>
                  <a:pt x="39" y="88"/>
                </a:cubicBezTo>
                <a:cubicBezTo>
                  <a:pt x="37" y="88"/>
                  <a:pt x="36" y="89"/>
                  <a:pt x="35" y="90"/>
                </a:cubicBezTo>
                <a:cubicBezTo>
                  <a:pt x="34" y="93"/>
                  <a:pt x="0" y="146"/>
                  <a:pt x="0" y="250"/>
                </a:cubicBezTo>
                <a:cubicBezTo>
                  <a:pt x="0" y="253"/>
                  <a:pt x="3" y="256"/>
                  <a:pt x="6" y="256"/>
                </a:cubicBezTo>
                <a:cubicBezTo>
                  <a:pt x="71" y="256"/>
                  <a:pt x="71" y="256"/>
                  <a:pt x="71" y="256"/>
                </a:cubicBezTo>
                <a:cubicBezTo>
                  <a:pt x="69" y="251"/>
                  <a:pt x="68" y="245"/>
                  <a:pt x="68" y="238"/>
                </a:cubicBezTo>
                <a:cubicBezTo>
                  <a:pt x="68" y="198"/>
                  <a:pt x="101" y="165"/>
                  <a:pt x="142" y="165"/>
                </a:cubicBezTo>
                <a:cubicBezTo>
                  <a:pt x="183" y="165"/>
                  <a:pt x="216" y="198"/>
                  <a:pt x="216" y="238"/>
                </a:cubicBezTo>
                <a:cubicBezTo>
                  <a:pt x="216" y="245"/>
                  <a:pt x="215" y="251"/>
                  <a:pt x="213" y="257"/>
                </a:cubicBezTo>
                <a:cubicBezTo>
                  <a:pt x="582" y="260"/>
                  <a:pt x="582" y="260"/>
                  <a:pt x="582" y="260"/>
                </a:cubicBezTo>
                <a:cubicBezTo>
                  <a:pt x="580" y="253"/>
                  <a:pt x="579" y="246"/>
                  <a:pt x="579" y="238"/>
                </a:cubicBezTo>
                <a:cubicBezTo>
                  <a:pt x="579" y="198"/>
                  <a:pt x="612" y="165"/>
                  <a:pt x="652" y="165"/>
                </a:cubicBezTo>
                <a:cubicBezTo>
                  <a:pt x="693" y="165"/>
                  <a:pt x="726" y="198"/>
                  <a:pt x="726" y="238"/>
                </a:cubicBezTo>
                <a:cubicBezTo>
                  <a:pt x="726" y="246"/>
                  <a:pt x="725" y="254"/>
                  <a:pt x="723" y="261"/>
                </a:cubicBezTo>
                <a:cubicBezTo>
                  <a:pt x="777" y="261"/>
                  <a:pt x="777" y="261"/>
                  <a:pt x="777" y="261"/>
                </a:cubicBezTo>
                <a:cubicBezTo>
                  <a:pt x="777" y="261"/>
                  <a:pt x="777" y="261"/>
                  <a:pt x="777" y="261"/>
                </a:cubicBezTo>
                <a:cubicBezTo>
                  <a:pt x="778" y="261"/>
                  <a:pt x="780" y="261"/>
                  <a:pt x="781" y="259"/>
                </a:cubicBezTo>
                <a:cubicBezTo>
                  <a:pt x="782" y="258"/>
                  <a:pt x="783" y="257"/>
                  <a:pt x="783" y="255"/>
                </a:cubicBezTo>
                <a:cubicBezTo>
                  <a:pt x="783" y="147"/>
                  <a:pt x="766" y="122"/>
                  <a:pt x="572" y="89"/>
                </a:cubicBezTo>
                <a:close/>
                <a:moveTo>
                  <a:pt x="505" y="108"/>
                </a:moveTo>
                <a:cubicBezTo>
                  <a:pt x="459" y="119"/>
                  <a:pt x="165" y="88"/>
                  <a:pt x="165" y="88"/>
                </a:cubicBezTo>
                <a:cubicBezTo>
                  <a:pt x="165" y="88"/>
                  <a:pt x="279" y="29"/>
                  <a:pt x="369" y="29"/>
                </a:cubicBezTo>
                <a:cubicBezTo>
                  <a:pt x="449" y="29"/>
                  <a:pt x="546" y="98"/>
                  <a:pt x="505" y="10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grpSp>
        <p:nvGrpSpPr>
          <p:cNvPr id="18" name="easyIcon">
            <a:extLst>
              <a:ext uri="{FF2B5EF4-FFF2-40B4-BE49-F238E27FC236}">
                <a16:creationId xmlns:a16="http://schemas.microsoft.com/office/drawing/2014/main" id="{5A7EFCD5-FBDD-AC7F-BDBF-B4264836D40A}"/>
              </a:ext>
            </a:extLst>
          </p:cNvPr>
          <p:cNvGrpSpPr>
            <a:grpSpLocks noChangeAspect="1"/>
          </p:cNvGrpSpPr>
          <p:nvPr>
            <p:custDataLst>
              <p:tags r:id="rId1"/>
            </p:custDataLst>
          </p:nvPr>
        </p:nvGrpSpPr>
        <p:grpSpPr>
          <a:xfrm>
            <a:off x="3503460" y="-432321"/>
            <a:ext cx="4525036" cy="4525036"/>
            <a:chOff x="264263" y="4620411"/>
            <a:chExt cx="1524000" cy="1524000"/>
          </a:xfrm>
        </p:grpSpPr>
        <p:sp>
          <p:nvSpPr>
            <p:cNvPr id="19" name="backgroundFixed">
              <a:extLst>
                <a:ext uri="{FF2B5EF4-FFF2-40B4-BE49-F238E27FC236}">
                  <a16:creationId xmlns:a16="http://schemas.microsoft.com/office/drawing/2014/main" id="{D2589921-D4C6-1F54-3B93-197EE7E2922B}"/>
                </a:ext>
              </a:extLst>
            </p:cNvPr>
            <p:cNvSpPr/>
            <p:nvPr>
              <p:custDataLst>
                <p:tags r:id="rId4"/>
              </p:custDataLst>
            </p:nvPr>
          </p:nvSpPr>
          <p:spPr>
            <a:xfrm>
              <a:off x="264263" y="4620411"/>
              <a:ext cx="1524000" cy="1524000"/>
            </a:xfrm>
            <a:prstGeom prst="rect">
              <a:avLst/>
            </a:prstGeom>
            <a:noFill/>
            <a:ln w="6350" cap="flat" cmpd="sng" algn="ctr">
              <a:noFill/>
              <a:prstDash val="solid"/>
              <a:round/>
              <a:headEnd type="none" w="med" len="med"/>
              <a:tailEnd type="none" w="med" len="med"/>
            </a:ln>
            <a:effectLst/>
            <a:extLst>
              <a:ext uri="{909E8E84-426E-40DD-AFC4-6F175D3DCCD1}">
                <a14:hiddenFill xmlns:a14="http://schemas.microsoft.com/office/drawing/2010/main">
                  <a:solidFill>
                    <a:srgbClr val="52C9FF"/>
                  </a:solidFill>
                </a14:hiddenFill>
              </a:ext>
              <a:ext uri="{91240B29-F687-4F45-9708-019B960494DF}">
                <a14:hiddenLine xmlns:a14="http://schemas.microsoft.com/office/drawing/2010/main" w="6350" cap="flat" cmpd="sng" algn="ctr">
                  <a:solidFill>
                    <a:srgbClr val="52C9F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108000" numCol="1" spcCol="0" rtlCol="0" fromWordArt="0" anchor="t" anchorCtr="0" forceAA="0" compatLnSpc="1">
              <a:prstTxWarp prst="textNoShape">
                <a:avLst/>
              </a:prstTxWarp>
              <a:noAutofit/>
            </a:bodyPr>
            <a:lstStyle/>
            <a:p>
              <a:pPr algn="l"/>
              <a:endParaRPr lang="en-US" sz="1400" b="1" dirty="0">
                <a:solidFill>
                  <a:schemeClr val="bg1"/>
                </a:solidFill>
              </a:endParaRPr>
            </a:p>
          </p:txBody>
        </p:sp>
        <p:pic>
          <p:nvPicPr>
            <p:cNvPr id="20" name="Vector">
              <a:extLst>
                <a:ext uri="{FF2B5EF4-FFF2-40B4-BE49-F238E27FC236}">
                  <a16:creationId xmlns:a16="http://schemas.microsoft.com/office/drawing/2014/main" id="{2EB6DBB3-4C46-0ABD-700C-B1B345411AE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bwMode="gray">
            <a:xfrm>
              <a:off x="264263" y="4620411"/>
              <a:ext cx="1524000" cy="1524000"/>
            </a:xfrm>
            <a:prstGeom prst="rect">
              <a:avLst/>
            </a:prstGeom>
          </p:spPr>
        </p:pic>
      </p:grpSp>
      <p:grpSp>
        <p:nvGrpSpPr>
          <p:cNvPr id="22" name="easyIcon">
            <a:extLst>
              <a:ext uri="{FF2B5EF4-FFF2-40B4-BE49-F238E27FC236}">
                <a16:creationId xmlns:a16="http://schemas.microsoft.com/office/drawing/2014/main" id="{60923921-4B42-F26A-E91C-D28482248042}"/>
              </a:ext>
            </a:extLst>
          </p:cNvPr>
          <p:cNvGrpSpPr>
            <a:grpSpLocks noChangeAspect="1"/>
          </p:cNvGrpSpPr>
          <p:nvPr>
            <p:custDataLst>
              <p:tags r:id="rId2"/>
            </p:custDataLst>
          </p:nvPr>
        </p:nvGrpSpPr>
        <p:grpSpPr>
          <a:xfrm>
            <a:off x="8028496" y="2628019"/>
            <a:ext cx="2663988" cy="2663988"/>
            <a:chOff x="5925840" y="4248419"/>
            <a:chExt cx="720000" cy="720000"/>
          </a:xfrm>
        </p:grpSpPr>
        <p:sp>
          <p:nvSpPr>
            <p:cNvPr id="23" name="backgroundFixed">
              <a:extLst>
                <a:ext uri="{FF2B5EF4-FFF2-40B4-BE49-F238E27FC236}">
                  <a16:creationId xmlns:a16="http://schemas.microsoft.com/office/drawing/2014/main" id="{C39931C6-E976-4D0B-7E89-28B592576387}"/>
                </a:ext>
              </a:extLst>
            </p:cNvPr>
            <p:cNvSpPr/>
            <p:nvPr>
              <p:custDataLst>
                <p:tags r:id="rId3"/>
              </p:custDataLst>
            </p:nvPr>
          </p:nvSpPr>
          <p:spPr>
            <a:xfrm>
              <a:off x="5925840" y="4248419"/>
              <a:ext cx="720000" cy="720000"/>
            </a:xfrm>
            <a:prstGeom prst="rect">
              <a:avLst/>
            </a:prstGeom>
            <a:noFill/>
            <a:ln w="6350" cap="flat" cmpd="sng" algn="ctr">
              <a:noFill/>
              <a:prstDash val="solid"/>
              <a:round/>
              <a:headEnd type="none" w="med" len="med"/>
              <a:tailEnd type="none" w="med" len="med"/>
            </a:ln>
            <a:effectLst/>
            <a:extLst>
              <a:ext uri="{909E8E84-426E-40DD-AFC4-6F175D3DCCD1}">
                <a14:hiddenFill xmlns:a14="http://schemas.microsoft.com/office/drawing/2010/main">
                  <a:solidFill>
                    <a:srgbClr val="52C9FF"/>
                  </a:solidFill>
                </a14:hiddenFill>
              </a:ext>
              <a:ext uri="{91240B29-F687-4F45-9708-019B960494DF}">
                <a14:hiddenLine xmlns:a14="http://schemas.microsoft.com/office/drawing/2010/main" w="6350" cap="flat" cmpd="sng" algn="ctr">
                  <a:solidFill>
                    <a:srgbClr val="52C9F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108000" numCol="1" spcCol="0" rtlCol="0" fromWordArt="0" anchor="t" anchorCtr="0" forceAA="0" compatLnSpc="1">
              <a:prstTxWarp prst="textNoShape">
                <a:avLst/>
              </a:prstTxWarp>
              <a:noAutofit/>
            </a:bodyPr>
            <a:lstStyle/>
            <a:p>
              <a:pPr algn="l"/>
              <a:endParaRPr lang="en-US" sz="1400" b="1" dirty="0">
                <a:solidFill>
                  <a:schemeClr val="bg1"/>
                </a:solidFill>
              </a:endParaRPr>
            </a:p>
          </p:txBody>
        </p:sp>
        <p:pic>
          <p:nvPicPr>
            <p:cNvPr id="24" name="Vector">
              <a:extLst>
                <a:ext uri="{FF2B5EF4-FFF2-40B4-BE49-F238E27FC236}">
                  <a16:creationId xmlns:a16="http://schemas.microsoft.com/office/drawing/2014/main" id="{7EB44F0D-0D1E-2B90-B0BE-1407028417F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bwMode="gray">
            <a:xfrm>
              <a:off x="5925840" y="4248419"/>
              <a:ext cx="720000" cy="720000"/>
            </a:xfrm>
            <a:prstGeom prst="rect">
              <a:avLst/>
            </a:prstGeom>
          </p:spPr>
        </p:pic>
      </p:grpSp>
    </p:spTree>
    <p:extLst>
      <p:ext uri="{BB962C8B-B14F-4D97-AF65-F5344CB8AC3E}">
        <p14:creationId xmlns:p14="http://schemas.microsoft.com/office/powerpoint/2010/main" val="366307599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ASYID" val="1e8d2e1a-1903-49e9-ab19-7e2848d53996"/>
  <p:tag name="DEFAULTLANGUAGEID" val="1033"/>
  <p:tag name="EASYMASTER" val="IAV"/>
  <p:tag name="SHOWAGENDASLIDENUMBER" val="no"/>
</p:tagLst>
</file>

<file path=ppt/tags/tag10.xml><?xml version="1.0" encoding="utf-8"?>
<p:tagLst xmlns:a="http://schemas.openxmlformats.org/drawingml/2006/main" xmlns:r="http://schemas.openxmlformats.org/officeDocument/2006/relationships" xmlns:p="http://schemas.openxmlformats.org/presentationml/2006/main">
  <p:tag name="ICONSECONDCOLOR" val="16777215"/>
  <p:tag name="EASYCOUNT" val=";147.;148.;148.;363.;364.;182."/>
</p:tagLst>
</file>

<file path=ppt/tags/tag11.xml><?xml version="1.0" encoding="utf-8"?>
<p:tagLst xmlns:a="http://schemas.openxmlformats.org/drawingml/2006/main" xmlns:r="http://schemas.openxmlformats.org/officeDocument/2006/relationships" xmlns:p="http://schemas.openxmlformats.org/presentationml/2006/main">
  <p:tag name="ICONSECONDCOLOR" val="16777215"/>
  <p:tag name="EASYCOUNT" val=";127.;128.;128.;323.;324.;162."/>
</p:tagLst>
</file>

<file path=ppt/tags/tag12.xml><?xml version="1.0" encoding="utf-8"?>
<p:tagLst xmlns:a="http://schemas.openxmlformats.org/drawingml/2006/main" xmlns:r="http://schemas.openxmlformats.org/officeDocument/2006/relationships" xmlns:p="http://schemas.openxmlformats.org/presentationml/2006/main">
  <p:tag name="EASYCOUNT" val=";166."/>
</p:tagLst>
</file>

<file path=ppt/tags/tag13.xml><?xml version="1.0" encoding="utf-8"?>
<p:tagLst xmlns:a="http://schemas.openxmlformats.org/drawingml/2006/main" xmlns:r="http://schemas.openxmlformats.org/officeDocument/2006/relationships" xmlns:p="http://schemas.openxmlformats.org/presentationml/2006/main">
  <p:tag name="EASYCOUNT" val=";29."/>
</p:tagLst>
</file>

<file path=ppt/tags/tag14.xml><?xml version="1.0" encoding="utf-8"?>
<p:tagLst xmlns:a="http://schemas.openxmlformats.org/drawingml/2006/main" xmlns:r="http://schemas.openxmlformats.org/officeDocument/2006/relationships" xmlns:p="http://schemas.openxmlformats.org/presentationml/2006/main">
  <p:tag name="EASYCOUNT" val=";222.;223.;223.;591.;592.;295."/>
  <p:tag name="ICONSECONDCOLOR" val="0"/>
</p:tagLst>
</file>

<file path=ppt/tags/tag15.xml><?xml version="1.0" encoding="utf-8"?>
<p:tagLst xmlns:a="http://schemas.openxmlformats.org/drawingml/2006/main" xmlns:r="http://schemas.openxmlformats.org/officeDocument/2006/relationships" xmlns:p="http://schemas.openxmlformats.org/presentationml/2006/main">
  <p:tag name="EASYCOUNT" val=";296.;297.;297.;761.;762.;379."/>
  <p:tag name="ICONSECONDCOLOR" val="0"/>
</p:tagLst>
</file>

<file path=ppt/tags/tag16.xml><?xml version="1.0" encoding="utf-8"?>
<p:tagLst xmlns:a="http://schemas.openxmlformats.org/drawingml/2006/main" xmlns:r="http://schemas.openxmlformats.org/officeDocument/2006/relationships" xmlns:p="http://schemas.openxmlformats.org/presentationml/2006/main">
  <p:tag name="EASYCOUNT" val=";29."/>
</p:tagLst>
</file>

<file path=ppt/tags/tag17.xml><?xml version="1.0" encoding="utf-8"?>
<p:tagLst xmlns:a="http://schemas.openxmlformats.org/drawingml/2006/main" xmlns:r="http://schemas.openxmlformats.org/officeDocument/2006/relationships" xmlns:p="http://schemas.openxmlformats.org/presentationml/2006/main">
  <p:tag name="EASYCOUNT" val=";291.;292.;292.;751.;752.;374."/>
  <p:tag name="ICONSECONDCOLOR" val="0"/>
</p:tagLst>
</file>

<file path=ppt/tags/tag18.xml><?xml version="1.0" encoding="utf-8"?>
<p:tagLst xmlns:a="http://schemas.openxmlformats.org/drawingml/2006/main" xmlns:r="http://schemas.openxmlformats.org/officeDocument/2006/relationships" xmlns:p="http://schemas.openxmlformats.org/presentationml/2006/main">
  <p:tag name="EASYCOUNT" val=";374."/>
</p:tagLst>
</file>

<file path=ppt/tags/tag19.xml><?xml version="1.0" encoding="utf-8"?>
<p:tagLst xmlns:a="http://schemas.openxmlformats.org/drawingml/2006/main" xmlns:r="http://schemas.openxmlformats.org/officeDocument/2006/relationships" xmlns:p="http://schemas.openxmlformats.org/presentationml/2006/main">
  <p:tag name="EASYCOUNT" val=";379."/>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ASYCOUNT" val=";295."/>
</p:tagLst>
</file>

<file path=ppt/tags/tag21.xml><?xml version="1.0" encoding="utf-8"?>
<p:tagLst xmlns:a="http://schemas.openxmlformats.org/drawingml/2006/main" xmlns:r="http://schemas.openxmlformats.org/officeDocument/2006/relationships" xmlns:p="http://schemas.openxmlformats.org/presentationml/2006/main">
  <p:tag name="EASYCOUNT" val=";162."/>
</p:tagLst>
</file>

<file path=ppt/tags/tag22.xml><?xml version="1.0" encoding="utf-8"?>
<p:tagLst xmlns:a="http://schemas.openxmlformats.org/drawingml/2006/main" xmlns:r="http://schemas.openxmlformats.org/officeDocument/2006/relationships" xmlns:p="http://schemas.openxmlformats.org/presentationml/2006/main">
  <p:tag name="EASYCOUNT" val=";182."/>
</p:tagLst>
</file>

<file path=ppt/tags/tag23.xml><?xml version="1.0" encoding="utf-8"?>
<p:tagLst xmlns:a="http://schemas.openxmlformats.org/drawingml/2006/main" xmlns:r="http://schemas.openxmlformats.org/officeDocument/2006/relationships" xmlns:p="http://schemas.openxmlformats.org/presentationml/2006/main">
  <p:tag name="EASYCOUNT" val=";1."/>
</p:tagLst>
</file>

<file path=ppt/tags/tag24.xml><?xml version="1.0" encoding="utf-8"?>
<p:tagLst xmlns:a="http://schemas.openxmlformats.org/drawingml/2006/main" xmlns:r="http://schemas.openxmlformats.org/officeDocument/2006/relationships" xmlns:p="http://schemas.openxmlformats.org/presentationml/2006/main">
  <p:tag name="EASYCOUNT" val=";21."/>
  <p:tag name="TOP" val="304,2943"/>
  <p:tag name="LEFT" val="120,8161"/>
</p:tagLst>
</file>

<file path=ppt/tags/tag25.xml><?xml version="1.0" encoding="utf-8"?>
<p:tagLst xmlns:a="http://schemas.openxmlformats.org/drawingml/2006/main" xmlns:r="http://schemas.openxmlformats.org/officeDocument/2006/relationships" xmlns:p="http://schemas.openxmlformats.org/presentationml/2006/main">
  <p:tag name="ICONSECONDCOLOR" val="16777215"/>
  <p:tag name="EASYCOUNT" val=";259.;260.;260.;666.;667.;332."/>
</p:tagLst>
</file>

<file path=ppt/tags/tag26.xml><?xml version="1.0" encoding="utf-8"?>
<p:tagLst xmlns:a="http://schemas.openxmlformats.org/drawingml/2006/main" xmlns:r="http://schemas.openxmlformats.org/officeDocument/2006/relationships" xmlns:p="http://schemas.openxmlformats.org/presentationml/2006/main">
  <p:tag name="ICONSECONDCOLOR" val="16777215"/>
  <p:tag name="EASYCOUNT" val=";188.;189.;189.;523.;524.;261."/>
</p:tagLst>
</file>

<file path=ppt/tags/tag27.xml><?xml version="1.0" encoding="utf-8"?>
<p:tagLst xmlns:a="http://schemas.openxmlformats.org/drawingml/2006/main" xmlns:r="http://schemas.openxmlformats.org/officeDocument/2006/relationships" xmlns:p="http://schemas.openxmlformats.org/presentationml/2006/main">
  <p:tag name="EASYCOUNT" val=";261."/>
</p:tagLst>
</file>

<file path=ppt/tags/tag28.xml><?xml version="1.0" encoding="utf-8"?>
<p:tagLst xmlns:a="http://schemas.openxmlformats.org/drawingml/2006/main" xmlns:r="http://schemas.openxmlformats.org/officeDocument/2006/relationships" xmlns:p="http://schemas.openxmlformats.org/presentationml/2006/main">
  <p:tag name="EASYCOUNT" val=";332."/>
</p:tagLst>
</file>

<file path=ppt/tags/tag29.xml><?xml version="1.0" encoding="utf-8"?>
<p:tagLst xmlns:a="http://schemas.openxmlformats.org/drawingml/2006/main" xmlns:r="http://schemas.openxmlformats.org/officeDocument/2006/relationships" xmlns:p="http://schemas.openxmlformats.org/presentationml/2006/main">
  <p:tag name="ICONSECONDCOLOR" val="16777215"/>
  <p:tag name="EASYCOUNT" val=";259.;260.;260.;666.;667.;332."/>
</p:tagLst>
</file>

<file path=ppt/tags/tag3.xml><?xml version="1.0" encoding="utf-8"?>
<p:tagLst xmlns:a="http://schemas.openxmlformats.org/drawingml/2006/main" xmlns:r="http://schemas.openxmlformats.org/officeDocument/2006/relationships" xmlns:p="http://schemas.openxmlformats.org/presentationml/2006/main">
  <p:tag name="SYNOPSYS-SHAPE" val="Y"/>
</p:tagLst>
</file>

<file path=ppt/tags/tag30.xml><?xml version="1.0" encoding="utf-8"?>
<p:tagLst xmlns:a="http://schemas.openxmlformats.org/drawingml/2006/main" xmlns:r="http://schemas.openxmlformats.org/officeDocument/2006/relationships" xmlns:p="http://schemas.openxmlformats.org/presentationml/2006/main">
  <p:tag name="ICONSECONDCOLOR" val="16777215"/>
  <p:tag name="EASYCOUNT" val=";188.;189.;189.;523.;524.;261."/>
</p:tagLst>
</file>

<file path=ppt/tags/tag31.xml><?xml version="1.0" encoding="utf-8"?>
<p:tagLst xmlns:a="http://schemas.openxmlformats.org/drawingml/2006/main" xmlns:r="http://schemas.openxmlformats.org/officeDocument/2006/relationships" xmlns:p="http://schemas.openxmlformats.org/presentationml/2006/main">
  <p:tag name="EASYCOUNT" val=";261."/>
</p:tagLst>
</file>

<file path=ppt/tags/tag32.xml><?xml version="1.0" encoding="utf-8"?>
<p:tagLst xmlns:a="http://schemas.openxmlformats.org/drawingml/2006/main" xmlns:r="http://schemas.openxmlformats.org/officeDocument/2006/relationships" xmlns:p="http://schemas.openxmlformats.org/presentationml/2006/main">
  <p:tag name="EASYCOUNT" val=";332."/>
</p:tagLst>
</file>

<file path=ppt/tags/tag33.xml><?xml version="1.0" encoding="utf-8"?>
<p:tagLst xmlns:a="http://schemas.openxmlformats.org/drawingml/2006/main" xmlns:r="http://schemas.openxmlformats.org/officeDocument/2006/relationships" xmlns:p="http://schemas.openxmlformats.org/presentationml/2006/main">
  <p:tag name="ICONSECONDCOLOR" val="16777215"/>
  <p:tag name="EASYCOUNT" val=";259.;260.;260.;666.;667.;332."/>
</p:tagLst>
</file>

<file path=ppt/tags/tag34.xml><?xml version="1.0" encoding="utf-8"?>
<p:tagLst xmlns:a="http://schemas.openxmlformats.org/drawingml/2006/main" xmlns:r="http://schemas.openxmlformats.org/officeDocument/2006/relationships" xmlns:p="http://schemas.openxmlformats.org/presentationml/2006/main">
  <p:tag name="ICONSECONDCOLOR" val="16777215"/>
  <p:tag name="EASYCOUNT" val=";188.;189.;189.;523.;524.;261."/>
</p:tagLst>
</file>

<file path=ppt/tags/tag35.xml><?xml version="1.0" encoding="utf-8"?>
<p:tagLst xmlns:a="http://schemas.openxmlformats.org/drawingml/2006/main" xmlns:r="http://schemas.openxmlformats.org/officeDocument/2006/relationships" xmlns:p="http://schemas.openxmlformats.org/presentationml/2006/main">
  <p:tag name="EASYCOUNT" val=";261."/>
</p:tagLst>
</file>

<file path=ppt/tags/tag36.xml><?xml version="1.0" encoding="utf-8"?>
<p:tagLst xmlns:a="http://schemas.openxmlformats.org/drawingml/2006/main" xmlns:r="http://schemas.openxmlformats.org/officeDocument/2006/relationships" xmlns:p="http://schemas.openxmlformats.org/presentationml/2006/main">
  <p:tag name="EASYCOUNT" val=";332."/>
</p:tagLst>
</file>

<file path=ppt/tags/tag37.xml><?xml version="1.0" encoding="utf-8"?>
<p:tagLst xmlns:a="http://schemas.openxmlformats.org/drawingml/2006/main" xmlns:r="http://schemas.openxmlformats.org/officeDocument/2006/relationships" xmlns:p="http://schemas.openxmlformats.org/presentationml/2006/main">
  <p:tag name="ICONSECONDCOLOR" val="16777215"/>
  <p:tag name="EASYCOUNT" val=";195.;196.;196.;537.;538.;268."/>
</p:tagLst>
</file>

<file path=ppt/tags/tag38.xml><?xml version="1.0" encoding="utf-8"?>
<p:tagLst xmlns:a="http://schemas.openxmlformats.org/drawingml/2006/main" xmlns:r="http://schemas.openxmlformats.org/officeDocument/2006/relationships" xmlns:p="http://schemas.openxmlformats.org/presentationml/2006/main">
  <p:tag name="ICONSECONDCOLOR" val="16777215"/>
  <p:tag name="EASYCOUNT" val=";145.;146.;146.;359.;360.;180."/>
</p:tagLst>
</file>

<file path=ppt/tags/tag39.xml><?xml version="1.0" encoding="utf-8"?>
<p:tagLst xmlns:a="http://schemas.openxmlformats.org/drawingml/2006/main" xmlns:r="http://schemas.openxmlformats.org/officeDocument/2006/relationships" xmlns:p="http://schemas.openxmlformats.org/presentationml/2006/main">
  <p:tag name="ICONSECONDCOLOR" val="16777215"/>
  <p:tag name="EASYCOUNT" val=";140.;141.;141.;349.;350.;175."/>
</p:tagLst>
</file>

<file path=ppt/tags/tag4.xml><?xml version="1.0" encoding="utf-8"?>
<p:tagLst xmlns:a="http://schemas.openxmlformats.org/drawingml/2006/main" xmlns:r="http://schemas.openxmlformats.org/officeDocument/2006/relationships" xmlns:p="http://schemas.openxmlformats.org/presentationml/2006/main">
  <p:tag name="SYNOPSYS-SHAPE" val="Y"/>
</p:tagLst>
</file>

<file path=ppt/tags/tag40.xml><?xml version="1.0" encoding="utf-8"?>
<p:tagLst xmlns:a="http://schemas.openxmlformats.org/drawingml/2006/main" xmlns:r="http://schemas.openxmlformats.org/officeDocument/2006/relationships" xmlns:p="http://schemas.openxmlformats.org/presentationml/2006/main">
  <p:tag name="EASYCOUNT" val=";175."/>
</p:tagLst>
</file>

<file path=ppt/tags/tag41.xml><?xml version="1.0" encoding="utf-8"?>
<p:tagLst xmlns:a="http://schemas.openxmlformats.org/drawingml/2006/main" xmlns:r="http://schemas.openxmlformats.org/officeDocument/2006/relationships" xmlns:p="http://schemas.openxmlformats.org/presentationml/2006/main">
  <p:tag name="EASYCOUNT" val=";180."/>
</p:tagLst>
</file>

<file path=ppt/tags/tag42.xml><?xml version="1.0" encoding="utf-8"?>
<p:tagLst xmlns:a="http://schemas.openxmlformats.org/drawingml/2006/main" xmlns:r="http://schemas.openxmlformats.org/officeDocument/2006/relationships" xmlns:p="http://schemas.openxmlformats.org/presentationml/2006/main">
  <p:tag name="EASYCOUNT" val=";268."/>
</p:tagLst>
</file>

<file path=ppt/tags/tag43.xml><?xml version="1.0" encoding="utf-8"?>
<p:tagLst xmlns:a="http://schemas.openxmlformats.org/drawingml/2006/main" xmlns:r="http://schemas.openxmlformats.org/officeDocument/2006/relationships" xmlns:p="http://schemas.openxmlformats.org/presentationml/2006/main">
  <p:tag name="EASYCHANGED" val="24_01_15-14:08:20"/>
</p:tagLst>
</file>

<file path=ppt/tags/tag44.xml><?xml version="1.0" encoding="utf-8"?>
<p:tagLst xmlns:a="http://schemas.openxmlformats.org/drawingml/2006/main" xmlns:r="http://schemas.openxmlformats.org/officeDocument/2006/relationships" xmlns:p="http://schemas.openxmlformats.org/presentationml/2006/main">
  <p:tag name="EASYCOUNT" val=";3."/>
  <p:tag name="LEFT" val="42,5"/>
  <p:tag name="TOP" val="102,0369"/>
</p:tagLst>
</file>

<file path=ppt/tags/tag45.xml><?xml version="1.0" encoding="utf-8"?>
<p:tagLst xmlns:a="http://schemas.openxmlformats.org/drawingml/2006/main" xmlns:r="http://schemas.openxmlformats.org/officeDocument/2006/relationships" xmlns:p="http://schemas.openxmlformats.org/presentationml/2006/main">
  <p:tag name="EASYCOUNT" val=";3."/>
  <p:tag name="LEFT" val="42,5"/>
  <p:tag name="TOP" val="102,0369"/>
</p:tagLst>
</file>

<file path=ppt/tags/tag46.xml><?xml version="1.0" encoding="utf-8"?>
<p:tagLst xmlns:a="http://schemas.openxmlformats.org/drawingml/2006/main" xmlns:r="http://schemas.openxmlformats.org/officeDocument/2006/relationships" xmlns:p="http://schemas.openxmlformats.org/presentationml/2006/main">
  <p:tag name="EASYCOUNT" val=";3."/>
  <p:tag name="LEFT" val="42,5"/>
  <p:tag name="TOP" val="102,0369"/>
</p:tagLst>
</file>

<file path=ppt/tags/tag47.xml><?xml version="1.0" encoding="utf-8"?>
<p:tagLst xmlns:a="http://schemas.openxmlformats.org/drawingml/2006/main" xmlns:r="http://schemas.openxmlformats.org/officeDocument/2006/relationships" xmlns:p="http://schemas.openxmlformats.org/presentationml/2006/main">
  <p:tag name="EASYCOUNT" val=";3."/>
  <p:tag name="LEFT" val="42,5"/>
  <p:tag name="TOP" val="102,0369"/>
</p:tagLst>
</file>

<file path=ppt/tags/tag48.xml><?xml version="1.0" encoding="utf-8"?>
<p:tagLst xmlns:a="http://schemas.openxmlformats.org/drawingml/2006/main" xmlns:r="http://schemas.openxmlformats.org/officeDocument/2006/relationships" xmlns:p="http://schemas.openxmlformats.org/presentationml/2006/main">
  <p:tag name="EASYCOUNT" val=";3."/>
  <p:tag name="LEFT" val="42,5"/>
  <p:tag name="TOP" val="102,0369"/>
</p:tagLst>
</file>

<file path=ppt/tags/tag49.xml><?xml version="1.0" encoding="utf-8"?>
<p:tagLst xmlns:a="http://schemas.openxmlformats.org/drawingml/2006/main" xmlns:r="http://schemas.openxmlformats.org/officeDocument/2006/relationships" xmlns:p="http://schemas.openxmlformats.org/presentationml/2006/main">
  <p:tag name="EASYCOUNT" val=";3."/>
  <p:tag name="LEFT" val="42,5"/>
  <p:tag name="TOP" val="102,0369"/>
</p:tagLst>
</file>

<file path=ppt/tags/tag5.xml><?xml version="1.0" encoding="utf-8"?>
<p:tagLst xmlns:a="http://schemas.openxmlformats.org/drawingml/2006/main" xmlns:r="http://schemas.openxmlformats.org/officeDocument/2006/relationships" xmlns:p="http://schemas.openxmlformats.org/presentationml/2006/main">
  <p:tag name="EASYCOUNT" val=";1.;2."/>
</p:tagLst>
</file>

<file path=ppt/tags/tag50.xml><?xml version="1.0" encoding="utf-8"?>
<p:tagLst xmlns:a="http://schemas.openxmlformats.org/drawingml/2006/main" xmlns:r="http://schemas.openxmlformats.org/officeDocument/2006/relationships" xmlns:p="http://schemas.openxmlformats.org/presentationml/2006/main">
  <p:tag name="EASYCOUNT" val=";3."/>
  <p:tag name="LEFT" val="42,5"/>
  <p:tag name="TOP" val="102,0369"/>
</p:tagLst>
</file>

<file path=ppt/tags/tag51.xml><?xml version="1.0" encoding="utf-8"?>
<p:tagLst xmlns:a="http://schemas.openxmlformats.org/drawingml/2006/main" xmlns:r="http://schemas.openxmlformats.org/officeDocument/2006/relationships" xmlns:p="http://schemas.openxmlformats.org/presentationml/2006/main">
  <p:tag name="EASYCOUNT" val=";3."/>
  <p:tag name="LEFT" val="42,5"/>
  <p:tag name="TOP" val="102,0369"/>
</p:tagLst>
</file>

<file path=ppt/tags/tag52.xml><?xml version="1.0" encoding="utf-8"?>
<p:tagLst xmlns:a="http://schemas.openxmlformats.org/drawingml/2006/main" xmlns:r="http://schemas.openxmlformats.org/officeDocument/2006/relationships" xmlns:p="http://schemas.openxmlformats.org/presentationml/2006/main">
  <p:tag name="EASYCOUNT" val=";3."/>
  <p:tag name="LEFT" val="42,5"/>
  <p:tag name="TOP" val="102,0369"/>
</p:tagLst>
</file>

<file path=ppt/tags/tag53.xml><?xml version="1.0" encoding="utf-8"?>
<p:tagLst xmlns:a="http://schemas.openxmlformats.org/drawingml/2006/main" xmlns:r="http://schemas.openxmlformats.org/officeDocument/2006/relationships" xmlns:p="http://schemas.openxmlformats.org/presentationml/2006/main">
  <p:tag name="EASYCOUNT" val=";3."/>
  <p:tag name="LEFT" val="42,5"/>
  <p:tag name="TOP" val="102,0369"/>
</p:tagLst>
</file>

<file path=ppt/tags/tag54.xml><?xml version="1.0" encoding="utf-8"?>
<p:tagLst xmlns:a="http://schemas.openxmlformats.org/drawingml/2006/main" xmlns:r="http://schemas.openxmlformats.org/officeDocument/2006/relationships" xmlns:p="http://schemas.openxmlformats.org/presentationml/2006/main">
  <p:tag name="EASYCOUNT" val=";3."/>
  <p:tag name="LEFT" val="42,5"/>
  <p:tag name="TOP" val="102,0369"/>
</p:tagLst>
</file>

<file path=ppt/tags/tag55.xml><?xml version="1.0" encoding="utf-8"?>
<p:tagLst xmlns:a="http://schemas.openxmlformats.org/drawingml/2006/main" xmlns:r="http://schemas.openxmlformats.org/officeDocument/2006/relationships" xmlns:p="http://schemas.openxmlformats.org/presentationml/2006/main">
  <p:tag name="EASYCOUNT" val=";3."/>
  <p:tag name="LEFT" val="42,5"/>
  <p:tag name="TOP" val="102,0369"/>
</p:tagLst>
</file>

<file path=ppt/tags/tag56.xml><?xml version="1.0" encoding="utf-8"?>
<p:tagLst xmlns:a="http://schemas.openxmlformats.org/drawingml/2006/main" xmlns:r="http://schemas.openxmlformats.org/officeDocument/2006/relationships" xmlns:p="http://schemas.openxmlformats.org/presentationml/2006/main">
  <p:tag name="EASYCOUNT" val=";3."/>
  <p:tag name="LEFT" val="42,5"/>
  <p:tag name="TOP" val="102,0369"/>
</p:tagLst>
</file>

<file path=ppt/tags/tag57.xml><?xml version="1.0" encoding="utf-8"?>
<p:tagLst xmlns:a="http://schemas.openxmlformats.org/drawingml/2006/main" xmlns:r="http://schemas.openxmlformats.org/officeDocument/2006/relationships" xmlns:p="http://schemas.openxmlformats.org/presentationml/2006/main">
  <p:tag name="EASYCOUNT" val=";3."/>
  <p:tag name="LEFT" val="42,5"/>
  <p:tag name="TOP" val="102,0369"/>
</p:tagLst>
</file>

<file path=ppt/tags/tag58.xml><?xml version="1.0" encoding="utf-8"?>
<p:tagLst xmlns:a="http://schemas.openxmlformats.org/drawingml/2006/main" xmlns:r="http://schemas.openxmlformats.org/officeDocument/2006/relationships" xmlns:p="http://schemas.openxmlformats.org/presentationml/2006/main">
  <p:tag name="EASYCOUNT" val=";3."/>
  <p:tag name="LEFT" val="42,5"/>
  <p:tag name="TOP" val="102,0369"/>
</p:tagLst>
</file>

<file path=ppt/tags/tag59.xml><?xml version="1.0" encoding="utf-8"?>
<p:tagLst xmlns:a="http://schemas.openxmlformats.org/drawingml/2006/main" xmlns:r="http://schemas.openxmlformats.org/officeDocument/2006/relationships" xmlns:p="http://schemas.openxmlformats.org/presentationml/2006/main">
  <p:tag name="EASYCOUNT" val=";3."/>
  <p:tag name="LEFT" val="42,5"/>
  <p:tag name="TOP" val="102,0369"/>
</p:tagLst>
</file>

<file path=ppt/tags/tag6.xml><?xml version="1.0" encoding="utf-8"?>
<p:tagLst xmlns:a="http://schemas.openxmlformats.org/drawingml/2006/main" xmlns:r="http://schemas.openxmlformats.org/officeDocument/2006/relationships" xmlns:p="http://schemas.openxmlformats.org/presentationml/2006/main">
  <p:tag name="EASYCOUNT" val=";1."/>
</p:tagLst>
</file>

<file path=ppt/tags/tag60.xml><?xml version="1.0" encoding="utf-8"?>
<p:tagLst xmlns:a="http://schemas.openxmlformats.org/drawingml/2006/main" xmlns:r="http://schemas.openxmlformats.org/officeDocument/2006/relationships" xmlns:p="http://schemas.openxmlformats.org/presentationml/2006/main">
  <p:tag name="EASYCOUNT" val=";3."/>
  <p:tag name="LEFT" val="42,5"/>
  <p:tag name="TOP" val="102,0369"/>
</p:tagLst>
</file>

<file path=ppt/tags/tag61.xml><?xml version="1.0" encoding="utf-8"?>
<p:tagLst xmlns:a="http://schemas.openxmlformats.org/drawingml/2006/main" xmlns:r="http://schemas.openxmlformats.org/officeDocument/2006/relationships" xmlns:p="http://schemas.openxmlformats.org/presentationml/2006/main">
  <p:tag name="EASYCOUNT" val=";3."/>
  <p:tag name="LEFT" val="42,5"/>
  <p:tag name="TOP" val="102,0369"/>
</p:tagLst>
</file>

<file path=ppt/tags/tag62.xml><?xml version="1.0" encoding="utf-8"?>
<p:tagLst xmlns:a="http://schemas.openxmlformats.org/drawingml/2006/main" xmlns:r="http://schemas.openxmlformats.org/officeDocument/2006/relationships" xmlns:p="http://schemas.openxmlformats.org/presentationml/2006/main">
  <p:tag name="EASYCOUNT" val=";3."/>
  <p:tag name="LEFT" val="42,5"/>
  <p:tag name="TOP" val="102,0369"/>
</p:tagLst>
</file>

<file path=ppt/tags/tag63.xml><?xml version="1.0" encoding="utf-8"?>
<p:tagLst xmlns:a="http://schemas.openxmlformats.org/drawingml/2006/main" xmlns:r="http://schemas.openxmlformats.org/officeDocument/2006/relationships" xmlns:p="http://schemas.openxmlformats.org/presentationml/2006/main">
  <p:tag name="EASYCOUNT" val=";3."/>
  <p:tag name="LEFT" val="42,5"/>
  <p:tag name="TOP" val="102,0369"/>
</p:tagLst>
</file>

<file path=ppt/tags/tag64.xml><?xml version="1.0" encoding="utf-8"?>
<p:tagLst xmlns:a="http://schemas.openxmlformats.org/drawingml/2006/main" xmlns:r="http://schemas.openxmlformats.org/officeDocument/2006/relationships" xmlns:p="http://schemas.openxmlformats.org/presentationml/2006/main">
  <p:tag name="EASYCOUNT" val=";3."/>
  <p:tag name="LEFT" val="42,5"/>
  <p:tag name="TOP" val="102,0369"/>
</p:tagLst>
</file>

<file path=ppt/tags/tag65.xml><?xml version="1.0" encoding="utf-8"?>
<p:tagLst xmlns:a="http://schemas.openxmlformats.org/drawingml/2006/main" xmlns:r="http://schemas.openxmlformats.org/officeDocument/2006/relationships" xmlns:p="http://schemas.openxmlformats.org/presentationml/2006/main">
  <p:tag name="EASYCOUNT" val=";3."/>
  <p:tag name="LEFT" val="42,5"/>
  <p:tag name="TOP" val="102,0369"/>
</p:tagLst>
</file>

<file path=ppt/tags/tag66.xml><?xml version="1.0" encoding="utf-8"?>
<p:tagLst xmlns:a="http://schemas.openxmlformats.org/drawingml/2006/main" xmlns:r="http://schemas.openxmlformats.org/officeDocument/2006/relationships" xmlns:p="http://schemas.openxmlformats.org/presentationml/2006/main">
  <p:tag name="EASYCOUNT" val=";3."/>
  <p:tag name="LEFT" val="42,5"/>
  <p:tag name="TOP" val="102,0369"/>
</p:tagLst>
</file>

<file path=ppt/tags/tag67.xml><?xml version="1.0" encoding="utf-8"?>
<p:tagLst xmlns:a="http://schemas.openxmlformats.org/drawingml/2006/main" xmlns:r="http://schemas.openxmlformats.org/officeDocument/2006/relationships" xmlns:p="http://schemas.openxmlformats.org/presentationml/2006/main">
  <p:tag name="EASYCOUNT" val=";3."/>
  <p:tag name="LEFT" val="42,5"/>
  <p:tag name="TOP" val="102,0369"/>
</p:tagLst>
</file>

<file path=ppt/tags/tag68.xml><?xml version="1.0" encoding="utf-8"?>
<p:tagLst xmlns:a="http://schemas.openxmlformats.org/drawingml/2006/main" xmlns:r="http://schemas.openxmlformats.org/officeDocument/2006/relationships" xmlns:p="http://schemas.openxmlformats.org/presentationml/2006/main">
  <p:tag name="EASYCOUNT" val=";3."/>
  <p:tag name="LEFT" val="42,5"/>
  <p:tag name="TOP" val="102,0369"/>
</p:tagLst>
</file>

<file path=ppt/tags/tag69.xml><?xml version="1.0" encoding="utf-8"?>
<p:tagLst xmlns:a="http://schemas.openxmlformats.org/drawingml/2006/main" xmlns:r="http://schemas.openxmlformats.org/officeDocument/2006/relationships" xmlns:p="http://schemas.openxmlformats.org/presentationml/2006/main">
  <p:tag name="LEFT" val="141,6251"/>
  <p:tag name="TOP" val="205,3943"/>
</p:tagLst>
</file>

<file path=ppt/tags/tag7.xml><?xml version="1.0" encoding="utf-8"?>
<p:tagLst xmlns:a="http://schemas.openxmlformats.org/drawingml/2006/main" xmlns:r="http://schemas.openxmlformats.org/officeDocument/2006/relationships" xmlns:p="http://schemas.openxmlformats.org/presentationml/2006/main">
  <p:tag name="EASYCOUNT" val=";2."/>
</p:tagLst>
</file>

<file path=ppt/tags/tag70.xml><?xml version="1.0" encoding="utf-8"?>
<p:tagLst xmlns:a="http://schemas.openxmlformats.org/drawingml/2006/main" xmlns:r="http://schemas.openxmlformats.org/officeDocument/2006/relationships" xmlns:p="http://schemas.openxmlformats.org/presentationml/2006/main">
  <p:tag name="EASYCOUNT" val=";3."/>
  <p:tag name="LEFT" val="42,5"/>
  <p:tag name="TOP" val="102,0369"/>
</p:tagLst>
</file>

<file path=ppt/tags/tag71.xml><?xml version="1.0" encoding="utf-8"?>
<p:tagLst xmlns:a="http://schemas.openxmlformats.org/drawingml/2006/main" xmlns:r="http://schemas.openxmlformats.org/officeDocument/2006/relationships" xmlns:p="http://schemas.openxmlformats.org/presentationml/2006/main">
  <p:tag name="EASYCHANGED" val="22_03_16-15:04:31"/>
</p:tagLst>
</file>

<file path=ppt/tags/tag72.xml><?xml version="1.0" encoding="utf-8"?>
<p:tagLst xmlns:a="http://schemas.openxmlformats.org/drawingml/2006/main" xmlns:r="http://schemas.openxmlformats.org/officeDocument/2006/relationships" xmlns:p="http://schemas.openxmlformats.org/presentationml/2006/main">
  <p:tag name="IGNOREPOSITION" val="yes"/>
  <p:tag name="LEFT" val="365,687"/>
  <p:tag name="TOP" val="498,1816"/>
</p:tagLst>
</file>

<file path=ppt/tags/tag73.xml><?xml version="1.0" encoding="utf-8"?>
<p:tagLst xmlns:a="http://schemas.openxmlformats.org/drawingml/2006/main" xmlns:r="http://schemas.openxmlformats.org/officeDocument/2006/relationships" xmlns:p="http://schemas.openxmlformats.org/presentationml/2006/main">
  <p:tag name="LEFT" val="141,6251"/>
  <p:tag name="TOP" val="119,0469"/>
</p:tagLst>
</file>

<file path=ppt/tags/tag74.xml><?xml version="1.0" encoding="utf-8"?>
<p:tagLst xmlns:a="http://schemas.openxmlformats.org/drawingml/2006/main" xmlns:r="http://schemas.openxmlformats.org/officeDocument/2006/relationships" xmlns:p="http://schemas.openxmlformats.org/presentationml/2006/main">
  <p:tag name="EASYCHANGED" val="22_03_16-15:04:31"/>
</p:tagLst>
</file>

<file path=ppt/tags/tag75.xml><?xml version="1.0" encoding="utf-8"?>
<p:tagLst xmlns:a="http://schemas.openxmlformats.org/drawingml/2006/main" xmlns:r="http://schemas.openxmlformats.org/officeDocument/2006/relationships" xmlns:p="http://schemas.openxmlformats.org/presentationml/2006/main">
  <p:tag name="IGNOREPOSITION" val="yes"/>
  <p:tag name="LEFT" val="365,687"/>
  <p:tag name="TOP" val="498,1816"/>
</p:tagLst>
</file>

<file path=ppt/tags/tag76.xml><?xml version="1.0" encoding="utf-8"?>
<p:tagLst xmlns:a="http://schemas.openxmlformats.org/drawingml/2006/main" xmlns:r="http://schemas.openxmlformats.org/officeDocument/2006/relationships" xmlns:p="http://schemas.openxmlformats.org/presentationml/2006/main">
  <p:tag name="LEFT" val="141,6251"/>
  <p:tag name="TOP" val="119,0469"/>
</p:tagLst>
</file>

<file path=ppt/tags/tag77.xml><?xml version="1.0" encoding="utf-8"?>
<p:tagLst xmlns:a="http://schemas.openxmlformats.org/drawingml/2006/main" xmlns:r="http://schemas.openxmlformats.org/officeDocument/2006/relationships" xmlns:p="http://schemas.openxmlformats.org/presentationml/2006/main">
  <p:tag name="EASYCHANGED" val="22_03_16-15:04:31"/>
</p:tagLst>
</file>

<file path=ppt/tags/tag78.xml><?xml version="1.0" encoding="utf-8"?>
<p:tagLst xmlns:a="http://schemas.openxmlformats.org/drawingml/2006/main" xmlns:r="http://schemas.openxmlformats.org/officeDocument/2006/relationships" xmlns:p="http://schemas.openxmlformats.org/presentationml/2006/main">
  <p:tag name="LEFT" val="141,6251"/>
  <p:tag name="TOP" val="119,0469"/>
</p:tagLst>
</file>

<file path=ppt/tags/tag79.xml><?xml version="1.0" encoding="utf-8"?>
<p:tagLst xmlns:a="http://schemas.openxmlformats.org/drawingml/2006/main" xmlns:r="http://schemas.openxmlformats.org/officeDocument/2006/relationships" xmlns:p="http://schemas.openxmlformats.org/presentationml/2006/main">
  <p:tag name="IGNOREPOSITION" val="yes"/>
  <p:tag name="LEFT" val="365,687"/>
  <p:tag name="TOP" val="498,1816"/>
</p:tagLst>
</file>

<file path=ppt/tags/tag8.xml><?xml version="1.0" encoding="utf-8"?>
<p:tagLst xmlns:a="http://schemas.openxmlformats.org/drawingml/2006/main" xmlns:r="http://schemas.openxmlformats.org/officeDocument/2006/relationships" xmlns:p="http://schemas.openxmlformats.org/presentationml/2006/main">
  <p:tag name="EASYMETA" val="&lt;shapeElement&gt;&#10;&#10;&lt;name1&gt;IAV Logo B0&lt;/name1&gt;&#10;&#10;&lt;name2&gt;IAV Logo B0&lt;/name2&gt;&#10;&#10;&lt;category1&gt;IAV Elemente&lt;/category1&gt;&#10;&#10;&lt;category2&gt;IAV Elements&lt;/category2&gt;&#10;&#10;&lt;tags1&gt;&lt;/tags1&gt;&#10;&#10;&lt;tags2&gt;&lt;/tags2&gt;&#10;&#10;&lt;lineBreak&gt;false&lt;/lineBreak&gt;&#10;&#10;&lt;forceSquarePreview&gt;false&lt;/forceSquarePreview&gt;&#10;&#10;&lt;fileName&gt;IAV_Logo_B0&lt;/fileName&gt;&#10;&#10;&lt;ungroup&gt;1&lt;/ungroup&gt;&#10;&lt;type&gt;2&lt;/type&gt;&#10;&#10;&lt;/shapeElement&gt;"/>
  <p:tag name="LEFT" val="799,0744"/>
  <p:tag name="TOP" val="462,0771"/>
</p:tagLst>
</file>

<file path=ppt/tags/tag80.xml><?xml version="1.0" encoding="utf-8"?>
<p:tagLst xmlns:a="http://schemas.openxmlformats.org/drawingml/2006/main" xmlns:r="http://schemas.openxmlformats.org/officeDocument/2006/relationships" xmlns:p="http://schemas.openxmlformats.org/presentationml/2006/main">
  <p:tag name="EASYQRCODE" val="https://github.com/iavofficial/IAV_quantumSAR"/>
</p:tagLst>
</file>

<file path=ppt/tags/tag81.xml><?xml version="1.0" encoding="utf-8"?>
<p:tagLst xmlns:a="http://schemas.openxmlformats.org/drawingml/2006/main" xmlns:r="http://schemas.openxmlformats.org/officeDocument/2006/relationships" xmlns:p="http://schemas.openxmlformats.org/presentationml/2006/main">
  <p:tag name="ICONSECONDCOLOR" val="16777215"/>
  <p:tag name="EASYCOUNT" val=";146.;147.;147.;361.;362.;181."/>
</p:tagLst>
</file>

<file path=ppt/tags/tag82.xml><?xml version="1.0" encoding="utf-8"?>
<p:tagLst xmlns:a="http://schemas.openxmlformats.org/drawingml/2006/main" xmlns:r="http://schemas.openxmlformats.org/officeDocument/2006/relationships" xmlns:p="http://schemas.openxmlformats.org/presentationml/2006/main">
  <p:tag name="ICONSECONDCOLOR" val="16777215"/>
  <p:tag name="EASYCOUNT" val=";70.;485.;486.;242."/>
</p:tagLst>
</file>

<file path=ppt/tags/tag83.xml><?xml version="1.0" encoding="utf-8"?>
<p:tagLst xmlns:a="http://schemas.openxmlformats.org/drawingml/2006/main" xmlns:r="http://schemas.openxmlformats.org/officeDocument/2006/relationships" xmlns:p="http://schemas.openxmlformats.org/presentationml/2006/main">
  <p:tag name="EASYCOUNT" val=";115.;990.;492."/>
  <p:tag name="ICONSECONDCOLOR" val="16777215"/>
</p:tagLst>
</file>

<file path=ppt/tags/tag84.xml><?xml version="1.0" encoding="utf-8"?>
<p:tagLst xmlns:a="http://schemas.openxmlformats.org/drawingml/2006/main" xmlns:r="http://schemas.openxmlformats.org/officeDocument/2006/relationships" xmlns:p="http://schemas.openxmlformats.org/presentationml/2006/main">
  <p:tag name="EASYCOUNT" val=";492."/>
</p:tagLst>
</file>

<file path=ppt/tags/tag85.xml><?xml version="1.0" encoding="utf-8"?>
<p:tagLst xmlns:a="http://schemas.openxmlformats.org/drawingml/2006/main" xmlns:r="http://schemas.openxmlformats.org/officeDocument/2006/relationships" xmlns:p="http://schemas.openxmlformats.org/presentationml/2006/main">
  <p:tag name="EASYCOUNT" val=";242."/>
</p:tagLst>
</file>

<file path=ppt/tags/tag86.xml><?xml version="1.0" encoding="utf-8"?>
<p:tagLst xmlns:a="http://schemas.openxmlformats.org/drawingml/2006/main" xmlns:r="http://schemas.openxmlformats.org/officeDocument/2006/relationships" xmlns:p="http://schemas.openxmlformats.org/presentationml/2006/main">
  <p:tag name="EASYCOUNT" val=";181."/>
</p:tagLst>
</file>

<file path=ppt/tags/tag87.xml><?xml version="1.0" encoding="utf-8"?>
<p:tagLst xmlns:a="http://schemas.openxmlformats.org/drawingml/2006/main" xmlns:r="http://schemas.openxmlformats.org/officeDocument/2006/relationships" xmlns:p="http://schemas.openxmlformats.org/presentationml/2006/main">
  <p:tag name="ICONSECONDCOLOR" val="16777215"/>
  <p:tag name="EASYCOUNT" val=";1.;1.;1.;1.;2.;1."/>
</p:tagLst>
</file>

<file path=ppt/tags/tag88.xml><?xml version="1.0" encoding="utf-8"?>
<p:tagLst xmlns:a="http://schemas.openxmlformats.org/drawingml/2006/main" xmlns:r="http://schemas.openxmlformats.org/officeDocument/2006/relationships" xmlns:p="http://schemas.openxmlformats.org/presentationml/2006/main">
  <p:tag name="ICONSECONDCOLOR" val="16777215"/>
  <p:tag name="EASYCOUNT" val=";224.;225.;225.;595.;596.;297."/>
</p:tagLst>
</file>

<file path=ppt/tags/tag89.xml><?xml version="1.0" encoding="utf-8"?>
<p:tagLst xmlns:a="http://schemas.openxmlformats.org/drawingml/2006/main" xmlns:r="http://schemas.openxmlformats.org/officeDocument/2006/relationships" xmlns:p="http://schemas.openxmlformats.org/presentationml/2006/main">
  <p:tag name="ICONSECONDCOLOR" val="16777215"/>
  <p:tag name="EASYCOUNT" val=";194.;195.;195.;535.;536.;267."/>
</p:tagLst>
</file>

<file path=ppt/tags/tag9.xml><?xml version="1.0" encoding="utf-8"?>
<p:tagLst xmlns:a="http://schemas.openxmlformats.org/drawingml/2006/main" xmlns:r="http://schemas.openxmlformats.org/officeDocument/2006/relationships" xmlns:p="http://schemas.openxmlformats.org/presentationml/2006/main">
  <p:tag name="ICONSECONDCOLOR" val="16777215"/>
  <p:tag name="EASYCOUNT" val=";1.;1.;1.;1.;2.;1."/>
</p:tagLst>
</file>

<file path=ppt/tags/tag90.xml><?xml version="1.0" encoding="utf-8"?>
<p:tagLst xmlns:a="http://schemas.openxmlformats.org/drawingml/2006/main" xmlns:r="http://schemas.openxmlformats.org/officeDocument/2006/relationships" xmlns:p="http://schemas.openxmlformats.org/presentationml/2006/main">
  <p:tag name="ICONSECONDCOLOR" val="16777215"/>
  <p:tag name="EASYCOUNT" val=";79.;718.;719.;357."/>
</p:tagLst>
</file>

<file path=ppt/tags/tag91.xml><?xml version="1.0" encoding="utf-8"?>
<p:tagLst xmlns:a="http://schemas.openxmlformats.org/drawingml/2006/main" xmlns:r="http://schemas.openxmlformats.org/officeDocument/2006/relationships" xmlns:p="http://schemas.openxmlformats.org/presentationml/2006/main">
  <p:tag name="EASYCOUNT" val=";357."/>
</p:tagLst>
</file>

<file path=ppt/tags/tag92.xml><?xml version="1.0" encoding="utf-8"?>
<p:tagLst xmlns:a="http://schemas.openxmlformats.org/drawingml/2006/main" xmlns:r="http://schemas.openxmlformats.org/officeDocument/2006/relationships" xmlns:p="http://schemas.openxmlformats.org/presentationml/2006/main">
  <p:tag name="EASYCOUNT" val=";357."/>
</p:tagLst>
</file>

<file path=ppt/tags/tag93.xml><?xml version="1.0" encoding="utf-8"?>
<p:tagLst xmlns:a="http://schemas.openxmlformats.org/drawingml/2006/main" xmlns:r="http://schemas.openxmlformats.org/officeDocument/2006/relationships" xmlns:p="http://schemas.openxmlformats.org/presentationml/2006/main">
  <p:tag name="EASYCOUNT" val=";267."/>
</p:tagLst>
</file>

<file path=ppt/tags/tag94.xml><?xml version="1.0" encoding="utf-8"?>
<p:tagLst xmlns:a="http://schemas.openxmlformats.org/drawingml/2006/main" xmlns:r="http://schemas.openxmlformats.org/officeDocument/2006/relationships" xmlns:p="http://schemas.openxmlformats.org/presentationml/2006/main">
  <p:tag name="EASYCOUNT" val=";297."/>
</p:tagLst>
</file>

<file path=ppt/tags/tag95.xml><?xml version="1.0" encoding="utf-8"?>
<p:tagLst xmlns:a="http://schemas.openxmlformats.org/drawingml/2006/main" xmlns:r="http://schemas.openxmlformats.org/officeDocument/2006/relationships" xmlns:p="http://schemas.openxmlformats.org/presentationml/2006/main">
  <p:tag name="EASYCOUNT" val=";1."/>
</p:tagLst>
</file>

<file path=ppt/tags/tag96.xml><?xml version="1.0" encoding="utf-8"?>
<p:tagLst xmlns:a="http://schemas.openxmlformats.org/drawingml/2006/main" xmlns:r="http://schemas.openxmlformats.org/officeDocument/2006/relationships" xmlns:p="http://schemas.openxmlformats.org/presentationml/2006/main">
  <p:tag name="EASYCOUNT" val=";7.;8.;9."/>
  <p:tag name="CONTACTSLIDE" val="yes"/>
</p:tagLst>
</file>

<file path=ppt/tags/tag97.xml><?xml version="1.0" encoding="utf-8"?>
<p:tagLst xmlns:a="http://schemas.openxmlformats.org/drawingml/2006/main" xmlns:r="http://schemas.openxmlformats.org/officeDocument/2006/relationships" xmlns:p="http://schemas.openxmlformats.org/presentationml/2006/main">
  <p:tag name="EASYCOUNT" val=";7."/>
</p:tagLst>
</file>

<file path=ppt/tags/tag98.xml><?xml version="1.0" encoding="utf-8"?>
<p:tagLst xmlns:a="http://schemas.openxmlformats.org/drawingml/2006/main" xmlns:r="http://schemas.openxmlformats.org/officeDocument/2006/relationships" xmlns:p="http://schemas.openxmlformats.org/presentationml/2006/main">
  <p:tag name="EASYCOUNT" val=";8.;9."/>
</p:tagLst>
</file>

<file path=ppt/theme/theme1.xml><?xml version="1.0" encoding="utf-8"?>
<a:theme xmlns:a="http://schemas.openxmlformats.org/drawingml/2006/main" name="IAV">
  <a:themeElements>
    <a:clrScheme name="Benutzerdefiniert 11">
      <a:dk1>
        <a:srgbClr val="001A54"/>
      </a:dk1>
      <a:lt1>
        <a:srgbClr val="FFFFFF"/>
      </a:lt1>
      <a:dk2>
        <a:srgbClr val="041E96"/>
      </a:dk2>
      <a:lt2>
        <a:srgbClr val="FFFFFF"/>
      </a:lt2>
      <a:accent1>
        <a:srgbClr val="52C9FF"/>
      </a:accent1>
      <a:accent2>
        <a:srgbClr val="0091FF"/>
      </a:accent2>
      <a:accent3>
        <a:srgbClr val="1446EB"/>
      </a:accent3>
      <a:accent4>
        <a:srgbClr val="5500B4"/>
      </a:accent4>
      <a:accent5>
        <a:srgbClr val="A200E6"/>
      </a:accent5>
      <a:accent6>
        <a:srgbClr val="DC46F3"/>
      </a:accent6>
      <a:hlink>
        <a:srgbClr val="FF73FF"/>
      </a:hlink>
      <a:folHlink>
        <a:srgbClr val="FF73F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lIns="144000" tIns="108000" rIns="144000" bIns="144000" rtlCol="0" anchor="t"/>
      <a:lstStyle>
        <a:defPPr algn="l">
          <a:spcBef>
            <a:spcPts val="800"/>
          </a:spcBef>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marL="176213" indent="-176213" algn="l">
          <a:lnSpc>
            <a:spcPct val="120000"/>
          </a:lnSpc>
          <a:spcBef>
            <a:spcPts val="800"/>
          </a:spcBef>
          <a:buFont typeface="Arial" panose="020B0604020202020204" pitchFamily="34" charset="0"/>
          <a:buChar char="•"/>
          <a:defRPr sz="1600" dirty="0" err="1" smtClean="0"/>
        </a:defPPr>
      </a:lstStyle>
    </a:txDef>
  </a:objectDefaults>
  <a:extraClrSchemeLst/>
  <a:custClrLst>
    <a:custClr name="B0">
      <a:srgbClr val="001A54"/>
    </a:custClr>
    <a:custClr name="B1">
      <a:srgbClr val="041E96"/>
    </a:custClr>
    <a:custClr name="B2">
      <a:srgbClr val="1446EB"/>
    </a:custClr>
    <a:custClr name="B3">
      <a:srgbClr val="0091FF"/>
    </a:custClr>
    <a:custClr name="B4">
      <a:srgbClr val="52C9FF"/>
    </a:custClr>
    <a:custClr name="B5">
      <a:srgbClr val="96E7FF"/>
    </a:custClr>
    <a:custClr name="B6">
      <a:srgbClr val="D2F5FF"/>
    </a:custClr>
    <a:custClr name="r:255 g:255 b:255">
      <a:srgbClr val="FFFFFF"/>
    </a:custClr>
    <a:custClr name="r:255 g:255 b:255">
      <a:srgbClr val="FFFFFF"/>
    </a:custClr>
    <a:custClr name="r:255 g:255 b:255">
      <a:srgbClr val="FFFFFF"/>
    </a:custClr>
    <a:custClr name="r:255 g:255 b:255">
      <a:srgbClr val="FFFFFF"/>
    </a:custClr>
    <a:custClr name="M1">
      <a:srgbClr val="5500B4"/>
    </a:custClr>
    <a:custClr name="M2">
      <a:srgbClr val="A200E6"/>
    </a:custClr>
    <a:custClr name="M3">
      <a:srgbClr val="DC46F3"/>
    </a:custClr>
    <a:custClr name="M4">
      <a:srgbClr val="FF73FA"/>
    </a:custClr>
    <a:custClr name="M5">
      <a:srgbClr val="FFAFFF"/>
    </a:custClr>
    <a:custClr name="M6">
      <a:srgbClr val="FDDEFF"/>
    </a:custClr>
    <a:custClr name="r:255 g:255 b:255">
      <a:srgbClr val="FFFFFF"/>
    </a:custClr>
    <a:custClr name="r:255 g:255 b:255">
      <a:srgbClr val="FFFFFF"/>
    </a:custClr>
    <a:custClr name="r:255 g:255 b:255">
      <a:srgbClr val="FFFFFF"/>
    </a:custClr>
    <a:custClr name="r:255 g:255 b:255">
      <a:srgbClr val="FFFFFF"/>
    </a:custClr>
    <a:custClr name="r:255 g:255 b:255">
      <a:srgbClr val="FFFFFF"/>
    </a:custClr>
    <a:custClr name="r:255 g:255 b:255">
      <a:srgbClr val="FFFFFF"/>
    </a:custClr>
    <a:custClr name="r:255 g:255 b:255">
      <a:srgbClr val="FFFFFF"/>
    </a:custClr>
    <a:custClr name="r:255 g:255 b:255">
      <a:srgbClr val="FFFFFF"/>
    </a:custClr>
    <a:custClr name="r:255 g:255 b:255">
      <a:srgbClr val="FFFFFF"/>
    </a:custClr>
    <a:custClr name="r:255 g:255 b:255">
      <a:srgbClr val="FFFFFF"/>
    </a:custClr>
    <a:custClr name="r:255 g:255 b:255">
      <a:srgbClr val="FFFFFF"/>
    </a:custClr>
    <a:custClr name="r:255 g:255 b:255">
      <a:srgbClr val="FFFFFF"/>
    </a:custClr>
    <a:custClr name="r:255 g:255 b:255">
      <a:srgbClr val="FFFFFF"/>
    </a:custClr>
    <a:custClr name="Gray (Inactive Content)">
      <a:srgbClr val="CCCCCC"/>
    </a:custClr>
    <a:custClr name="Traffic Light Red">
      <a:srgbClr val="F80000"/>
    </a:custClr>
    <a:custClr name="Traffic Light Yellow">
      <a:srgbClr val="FFD800"/>
    </a:custClr>
    <a:custClr name="Traffic Light Green">
      <a:srgbClr val="80D800"/>
    </a:custClr>
    <a:custClr name="Dark Green">
      <a:srgbClr val="28A000"/>
    </a:custClr>
    <a:custClr name="Orange">
      <a:srgbClr val="FF9000"/>
    </a:custClr>
    <a:custClr name="r:255 g:255 b:255">
      <a:srgbClr val="FFFFFF"/>
    </a:custClr>
    <a:custClr name="r:255 g:255 b:255">
      <a:srgbClr val="FFFFFF"/>
    </a:custClr>
    <a:custClr name="r:255 g:255 b:255">
      <a:srgbClr val="FFFFFF"/>
    </a:custClr>
    <a:custClr name="r:255 g:255 b:255">
      <a:srgbClr val="FFFFFF"/>
    </a:custClr>
  </a:custClrLst>
  <a:extLst>
    <a:ext uri="{05A4C25C-085E-4340-85A3-A5531E510DB2}">
      <thm15:themeFamily xmlns:thm15="http://schemas.microsoft.com/office/thememl/2012/main" name="211115_IAV_PPT-Vorlage_DE_V02_jrr.pptx" id="{FE86CE97-2B86-47DC-960C-7AC964D0D8BF}" vid="{82D18DCE-96AC-45FE-BE25-B4EEEA6662AA}"/>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daf42ac6-9e93-4de9-9a72-10f913041ca1">
      <Terms xmlns="http://schemas.microsoft.com/office/infopath/2007/PartnerControls"/>
    </lcf76f155ced4ddcb4097134ff3c332f>
    <TaxCatchAll xmlns="dba31755-6864-4b8c-9e87-d0ce55a9ddc2"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485D6B3C6E37A54E8C32452C1A24B578" ma:contentTypeVersion="13" ma:contentTypeDescription="Create a new document." ma:contentTypeScope="" ma:versionID="e58063f3d42c16f7ae81f7be38fa36b9">
  <xsd:schema xmlns:xsd="http://www.w3.org/2001/XMLSchema" xmlns:xs="http://www.w3.org/2001/XMLSchema" xmlns:p="http://schemas.microsoft.com/office/2006/metadata/properties" xmlns:ns2="daf42ac6-9e93-4de9-9a72-10f913041ca1" xmlns:ns3="dba31755-6864-4b8c-9e87-d0ce55a9ddc2" targetNamespace="http://schemas.microsoft.com/office/2006/metadata/properties" ma:root="true" ma:fieldsID="03704d65d3f8dd8c088dd9048ae752ff" ns2:_="" ns3:_="">
    <xsd:import namespace="daf42ac6-9e93-4de9-9a72-10f913041ca1"/>
    <xsd:import namespace="dba31755-6864-4b8c-9e87-d0ce55a9ddc2"/>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DateTaken"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CR"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af42ac6-9e93-4de9-9a72-10f913041ca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lcf76f155ced4ddcb4097134ff3c332f" ma:index="17" nillable="true" ma:taxonomy="true" ma:internalName="lcf76f155ced4ddcb4097134ff3c332f" ma:taxonomyFieldName="MediaServiceImageTags" ma:displayName="Image Tags" ma:readOnly="false" ma:fieldId="{5cf76f15-5ced-4ddc-b409-7134ff3c332f}" ma:taxonomyMulti="true" ma:sspId="bf781aa3-eb08-4e80-b5cd-4604a4ade6fe" ma:termSetId="09814cd3-568e-fe90-9814-8d621ff8fb84" ma:anchorId="fba54fb3-c3e1-fe81-a776-ca4b69148c4d" ma:open="true" ma:isKeyword="false">
      <xsd:complexType>
        <xsd:sequence>
          <xsd:element ref="pc:Terms" minOccurs="0" maxOccurs="1"/>
        </xsd:sequence>
      </xsd:complexType>
    </xsd:element>
    <xsd:element name="MediaServiceOCR" ma:index="19" nillable="true" ma:displayName="Extracted Text" ma:internalName="MediaServiceOCR" ma:readOnly="true">
      <xsd:simpleType>
        <xsd:restriction base="dms:Note">
          <xsd:maxLength value="255"/>
        </xsd:restriction>
      </xsd:simpleType>
    </xsd:element>
    <xsd:element name="MediaServiceLocation" ma:index="20"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ba31755-6864-4b8c-9e87-d0ce55a9ddc2" elementFormDefault="qualified">
    <xsd:import namespace="http://schemas.microsoft.com/office/2006/documentManagement/types"/>
    <xsd:import namespace="http://schemas.microsoft.com/office/infopath/2007/PartnerControls"/>
    <xsd:element name="TaxCatchAll" ma:index="18" nillable="true" ma:displayName="Taxonomy Catch All Column" ma:hidden="true" ma:list="{e6f277a9-21bd-48a5-a7b2-29c823437733}" ma:internalName="TaxCatchAll" ma:showField="CatchAllData" ma:web="dba31755-6864-4b8c-9e87-d0ce55a9ddc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6F59E95-4674-4DBF-8B86-37F165645A09}">
  <ds:schemaRefs>
    <ds:schemaRef ds:uri="http://schemas.microsoft.com/sharepoint/v3/contenttype/forms"/>
  </ds:schemaRefs>
</ds:datastoreItem>
</file>

<file path=customXml/itemProps2.xml><?xml version="1.0" encoding="utf-8"?>
<ds:datastoreItem xmlns:ds="http://schemas.openxmlformats.org/officeDocument/2006/customXml" ds:itemID="{43423D9F-D4F6-4722-86F7-B7F1FD487CDF}">
  <ds:schemaRefs>
    <ds:schemaRef ds:uri="http://purl.org/dc/dcmitype/"/>
    <ds:schemaRef ds:uri="http://purl.org/dc/terms/"/>
    <ds:schemaRef ds:uri="http://schemas.microsoft.com/office/2006/metadata/properties"/>
    <ds:schemaRef ds:uri="http://schemas.microsoft.com/office/2006/documentManagement/types"/>
    <ds:schemaRef ds:uri="09130a7c-92cc-4e34-b8e4-72eee94df1b6"/>
    <ds:schemaRef ds:uri="http://purl.org/dc/elements/1.1/"/>
    <ds:schemaRef ds:uri="http://schemas.microsoft.com/office/infopath/2007/PartnerControls"/>
    <ds:schemaRef ds:uri="http://schemas.openxmlformats.org/package/2006/metadata/core-properties"/>
    <ds:schemaRef ds:uri="e1e66736-a3dc-482f-b04b-4e407ae1a9cb"/>
    <ds:schemaRef ds:uri="http://www.w3.org/XML/1998/namespace"/>
  </ds:schemaRefs>
</ds:datastoreItem>
</file>

<file path=customXml/itemProps3.xml><?xml version="1.0" encoding="utf-8"?>
<ds:datastoreItem xmlns:ds="http://schemas.openxmlformats.org/officeDocument/2006/customXml" ds:itemID="{042D17CB-98B1-4D54-BE93-D2FA1A6648E7}"/>
</file>

<file path=docProps/app.xml><?xml version="1.0" encoding="utf-8"?>
<Properties xmlns="http://schemas.openxmlformats.org/officeDocument/2006/extended-properties" xmlns:vt="http://schemas.openxmlformats.org/officeDocument/2006/docPropsVTypes">
  <Template/>
  <TotalTime>0</TotalTime>
  <Words>3827</Words>
  <Application>Microsoft Office PowerPoint</Application>
  <PresentationFormat>Custom</PresentationFormat>
  <Paragraphs>591</Paragraphs>
  <Slides>26</Slides>
  <Notes>25</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26</vt:i4>
      </vt:variant>
    </vt:vector>
  </HeadingPairs>
  <TitlesOfParts>
    <vt:vector size="37" baseType="lpstr">
      <vt:lpstr>FujitsuInfinityPro-Regular</vt:lpstr>
      <vt:lpstr>MS PGothic</vt:lpstr>
      <vt:lpstr>Rubik</vt:lpstr>
      <vt:lpstr>游ゴシック Medium</vt:lpstr>
      <vt:lpstr>Arial</vt:lpstr>
      <vt:lpstr>Arial</vt:lpstr>
      <vt:lpstr>Calibri</vt:lpstr>
      <vt:lpstr>Open Sans</vt:lpstr>
      <vt:lpstr>Segoe UI</vt:lpstr>
      <vt:lpstr>IAV</vt:lpstr>
      <vt:lpstr>think-cell Folie</vt:lpstr>
      <vt:lpstr>Cybersecurity Threats and Risks;  International Regulatory Developments;  PQC (Post-Quantum Cryptography)</vt:lpstr>
      <vt:lpstr>Introduction of IAV</vt:lpstr>
      <vt:lpstr>Dr. Dennis Kengo Oka</vt:lpstr>
      <vt:lpstr>Agenda</vt:lpstr>
      <vt:lpstr>Agenda</vt:lpstr>
      <vt:lpstr>Overview of Automotive Threats in 2024</vt:lpstr>
      <vt:lpstr>Overview of Published Automotive Vulnerabilities</vt:lpstr>
      <vt:lpstr>SDV Ecosystem – New Use Cases and Technologies</vt:lpstr>
      <vt:lpstr>Increased Attack Surface</vt:lpstr>
      <vt:lpstr>End-to-End Cybersecurity Solutions</vt:lpstr>
      <vt:lpstr>Secure End-to-End Lifecycle</vt:lpstr>
      <vt:lpstr>Agenda</vt:lpstr>
      <vt:lpstr>Security Regulations Worldwide at a Glance</vt:lpstr>
      <vt:lpstr>Cybersecurity – R155 vs. CRA vs. GB-44495 (1)</vt:lpstr>
      <vt:lpstr>Cybersecurity – R155 vs. CRA vs. GB-44495 (2)</vt:lpstr>
      <vt:lpstr>Cybersecurity – R155 vs. CRA vs. GB-44495 (3)</vt:lpstr>
      <vt:lpstr>Agenda</vt:lpstr>
      <vt:lpstr>Future Technologies – Quantum Computing</vt:lpstr>
      <vt:lpstr>Quantum Computing Impact on Cybersecurity</vt:lpstr>
      <vt:lpstr>PQC Approaches</vt:lpstr>
      <vt:lpstr>Crypto Agility Cryptographic algorithms can get outdated ⇒ need to be updatable</vt:lpstr>
      <vt:lpstr>Crypto Agility - IAV quantumSAR Concept</vt:lpstr>
      <vt:lpstr>Crypto Agility - Firmware Security Module Securable, scalable and updatable Trusted Execution Environment</vt:lpstr>
      <vt:lpstr>Crypto Agility - Firmware Security Module Securable, scalable and updatable Trusted Execution Environment</vt:lpstr>
      <vt:lpstr>Call to Action</vt:lpstr>
      <vt:lpstr>Contac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Vorlage für IAV-Präsentationen</dc:title>
  <dc:creator>Oka, Dr. Dennis Kengo (JP)</dc:creator>
  <cp:lastModifiedBy>Oka, Dr. Dennis Kengo (JP)</cp:lastModifiedBy>
  <cp:revision>62</cp:revision>
  <cp:lastPrinted>2020-08-14T12:42:29Z</cp:lastPrinted>
  <dcterms:created xsi:type="dcterms:W3CDTF">2021-11-15T12:53:26Z</dcterms:created>
  <dcterms:modified xsi:type="dcterms:W3CDTF">2025-05-14T18:34: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85D6B3C6E37A54E8C32452C1A24B578</vt:lpwstr>
  </property>
  <property fmtid="{D5CDD505-2E9C-101B-9397-08002B2CF9AE}" pid="3" name="MSIP_Label_eda87506-7fda-481d-a14b-4a8fe5add330_Enabled">
    <vt:lpwstr>true</vt:lpwstr>
  </property>
  <property fmtid="{D5CDD505-2E9C-101B-9397-08002B2CF9AE}" pid="4" name="MSIP_Label_eda87506-7fda-481d-a14b-4a8fe5add330_SetDate">
    <vt:lpwstr>2021-11-08T12:19:10Z</vt:lpwstr>
  </property>
  <property fmtid="{D5CDD505-2E9C-101B-9397-08002B2CF9AE}" pid="5" name="MSIP_Label_eda87506-7fda-481d-a14b-4a8fe5add330_Method">
    <vt:lpwstr>Standard</vt:lpwstr>
  </property>
  <property fmtid="{D5CDD505-2E9C-101B-9397-08002B2CF9AE}" pid="6" name="MSIP_Label_eda87506-7fda-481d-a14b-4a8fe5add330_Name">
    <vt:lpwstr>internal</vt:lpwstr>
  </property>
  <property fmtid="{D5CDD505-2E9C-101B-9397-08002B2CF9AE}" pid="7" name="MSIP_Label_eda87506-7fda-481d-a14b-4a8fe5add330_SiteId">
    <vt:lpwstr>cd726fc8-636c-4794-8425-41f9d8b0d7d5</vt:lpwstr>
  </property>
  <property fmtid="{D5CDD505-2E9C-101B-9397-08002B2CF9AE}" pid="8" name="MSIP_Label_eda87506-7fda-481d-a14b-4a8fe5add330_ActionId">
    <vt:lpwstr>f2fe046f-84d0-4a87-9c4f-badbea6e297f</vt:lpwstr>
  </property>
  <property fmtid="{D5CDD505-2E9C-101B-9397-08002B2CF9AE}" pid="9" name="MSIP_Label_eda87506-7fda-481d-a14b-4a8fe5add330_ContentBits">
    <vt:lpwstr>0</vt:lpwstr>
  </property>
</Properties>
</file>